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2" r:id="rId1"/>
    <p:sldMasterId id="2147483654" r:id="rId2"/>
    <p:sldMasterId id="2147484102" r:id="rId3"/>
    <p:sldMasterId id="2147484412" r:id="rId4"/>
    <p:sldMasterId id="2147484424" r:id="rId5"/>
    <p:sldMasterId id="2147484436" r:id="rId6"/>
    <p:sldMasterId id="2147484537" r:id="rId7"/>
    <p:sldMasterId id="2147485682" r:id="rId8"/>
    <p:sldMasterId id="2147485819" r:id="rId9"/>
  </p:sldMasterIdLst>
  <p:notesMasterIdLst>
    <p:notesMasterId r:id="rId45"/>
  </p:notesMasterIdLst>
  <p:sldIdLst>
    <p:sldId id="612" r:id="rId10"/>
    <p:sldId id="665" r:id="rId11"/>
    <p:sldId id="662" r:id="rId12"/>
    <p:sldId id="666" r:id="rId13"/>
    <p:sldId id="664" r:id="rId14"/>
    <p:sldId id="649" r:id="rId15"/>
    <p:sldId id="667" r:id="rId16"/>
    <p:sldId id="651" r:id="rId17"/>
    <p:sldId id="668" r:id="rId18"/>
    <p:sldId id="669" r:id="rId19"/>
    <p:sldId id="670" r:id="rId20"/>
    <p:sldId id="672" r:id="rId21"/>
    <p:sldId id="648" r:id="rId22"/>
    <p:sldId id="673" r:id="rId23"/>
    <p:sldId id="653" r:id="rId24"/>
    <p:sldId id="674" r:id="rId25"/>
    <p:sldId id="663" r:id="rId26"/>
    <p:sldId id="660" r:id="rId27"/>
    <p:sldId id="654" r:id="rId28"/>
    <p:sldId id="677" r:id="rId29"/>
    <p:sldId id="678" r:id="rId30"/>
    <p:sldId id="679" r:id="rId31"/>
    <p:sldId id="680" r:id="rId32"/>
    <p:sldId id="676" r:id="rId33"/>
    <p:sldId id="656" r:id="rId34"/>
    <p:sldId id="657" r:id="rId35"/>
    <p:sldId id="659" r:id="rId36"/>
    <p:sldId id="683" r:id="rId37"/>
    <p:sldId id="684" r:id="rId38"/>
    <p:sldId id="685" r:id="rId39"/>
    <p:sldId id="686" r:id="rId40"/>
    <p:sldId id="652" r:id="rId41"/>
    <p:sldId id="681" r:id="rId42"/>
    <p:sldId id="682" r:id="rId43"/>
    <p:sldId id="688" r:id="rId44"/>
  </p:sldIdLst>
  <p:sldSz cx="9144000" cy="6859588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09499C44-645C-43B0-AAF0-09FEF445FA95}">
          <p14:sldIdLst>
            <p14:sldId id="612"/>
            <p14:sldId id="665"/>
            <p14:sldId id="662"/>
            <p14:sldId id="666"/>
            <p14:sldId id="664"/>
            <p14:sldId id="649"/>
            <p14:sldId id="667"/>
            <p14:sldId id="651"/>
            <p14:sldId id="668"/>
            <p14:sldId id="669"/>
            <p14:sldId id="670"/>
            <p14:sldId id="672"/>
            <p14:sldId id="648"/>
            <p14:sldId id="673"/>
            <p14:sldId id="653"/>
            <p14:sldId id="674"/>
            <p14:sldId id="663"/>
            <p14:sldId id="660"/>
            <p14:sldId id="654"/>
            <p14:sldId id="677"/>
            <p14:sldId id="678"/>
            <p14:sldId id="679"/>
            <p14:sldId id="680"/>
            <p14:sldId id="676"/>
            <p14:sldId id="656"/>
            <p14:sldId id="657"/>
            <p14:sldId id="659"/>
            <p14:sldId id="683"/>
            <p14:sldId id="684"/>
            <p14:sldId id="685"/>
            <p14:sldId id="686"/>
            <p14:sldId id="652"/>
            <p14:sldId id="681"/>
            <p14:sldId id="682"/>
            <p14:sldId id="68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BB67D"/>
    <a:srgbClr val="FFCC99"/>
    <a:srgbClr val="996633"/>
    <a:srgbClr val="FF9933"/>
    <a:srgbClr val="FC6E51"/>
    <a:srgbClr val="57B447"/>
    <a:srgbClr val="FBEAA2"/>
    <a:srgbClr val="FEFDD6"/>
    <a:srgbClr val="FFDE07"/>
    <a:srgbClr val="E95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034" autoAdjust="0"/>
    <p:restoredTop sz="96404" autoAdjust="0"/>
  </p:normalViewPr>
  <p:slideViewPr>
    <p:cSldViewPr>
      <p:cViewPr varScale="1">
        <p:scale>
          <a:sx n="113" d="100"/>
          <a:sy n="113" d="100"/>
        </p:scale>
        <p:origin x="1854" y="96"/>
      </p:cViewPr>
      <p:guideLst>
        <p:guide orient="horz" pos="2161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3888"/>
    </p:cViewPr>
  </p:sorterViewPr>
  <p:notesViewPr>
    <p:cSldViewPr>
      <p:cViewPr varScale="1">
        <p:scale>
          <a:sx n="79" d="100"/>
          <a:sy n="79" d="100"/>
        </p:scale>
        <p:origin x="395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slide" Target="slides/slide3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>
            <a:extLst/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24579" name="Rectangle 3">
            <a:extLst/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4581" name="Rectangle 5">
            <a:extLst/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noProof="0"/>
              <a:t>Образец текста</a:t>
            </a:r>
          </a:p>
          <a:p>
            <a:pPr lvl="1"/>
            <a:r>
              <a:rPr lang="ru-RU" altLang="ru-RU" noProof="0"/>
              <a:t>Второй уровень</a:t>
            </a:r>
          </a:p>
          <a:p>
            <a:pPr lvl="2"/>
            <a:r>
              <a:rPr lang="ru-RU" altLang="ru-RU" noProof="0"/>
              <a:t>Третий уровень</a:t>
            </a:r>
          </a:p>
          <a:p>
            <a:pPr lvl="3"/>
            <a:r>
              <a:rPr lang="ru-RU" altLang="ru-RU" noProof="0"/>
              <a:t>Четвертый уровень</a:t>
            </a:r>
          </a:p>
          <a:p>
            <a:pPr lvl="4"/>
            <a:r>
              <a:rPr lang="ru-RU" altLang="ru-RU" noProof="0"/>
              <a:t>Пятый уровень</a:t>
            </a:r>
          </a:p>
        </p:txBody>
      </p:sp>
      <p:sp>
        <p:nvSpPr>
          <p:cNvPr id="24582" name="Rectangle 6">
            <a:extLst/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24583" name="Rectangle 7">
            <a:extLst/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8C1857F1-5628-42BE-9DA5-FBB340E17BA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6490095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r>
              <a:rPr lang="ru-RU" baseline="0" dirty="0" smtClean="0"/>
              <a:t>Корпоративные закупки 1С:</a:t>
            </a:r>
            <a:r>
              <a:rPr lang="en-US" baseline="0" dirty="0" smtClean="0"/>
              <a:t>ERP.</a:t>
            </a:r>
            <a:r>
              <a:rPr lang="ru-RU" baseline="0" dirty="0" smtClean="0"/>
              <a:t>УХ – результат объединения подсистем 1С:ЕРП (Закупки) и 1С:УХ (Корпоративные закупки). 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C1857F1-5628-42BE-9DA5-FBB340E17BA8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06615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3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3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3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3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3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/>
          <a:lstStyle/>
          <a:p>
            <a:r>
              <a:rPr lang="ru-RU" baseline="0" dirty="0" smtClean="0"/>
              <a:t>Корпоративные закупки 1С:</a:t>
            </a:r>
            <a:r>
              <a:rPr lang="en-US" baseline="0" dirty="0" smtClean="0"/>
              <a:t>ERP.</a:t>
            </a:r>
            <a:r>
              <a:rPr lang="ru-RU" baseline="0" dirty="0" smtClean="0"/>
              <a:t>УХ – результат объединения подсистем 1С:ЕРП (Закупки) и 1С:УХ (Корпоративные закупки). 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35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7774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система корпоративные закупки</a:t>
            </a:r>
            <a:r>
              <a:rPr lang="ru-RU" baseline="0" dirty="0" smtClean="0"/>
              <a:t> обеспечивает исполнение планов предприятия в закупке ТРУ (товаров, работ, услуг) конкурентным способом (а именно с помощью подготовки и проведения закупочных процедур), что расширяет функционал ЕРП. </a:t>
            </a:r>
            <a:r>
              <a:rPr lang="ru-RU" dirty="0" smtClean="0"/>
              <a:t>Встраивание функционала</a:t>
            </a:r>
            <a:r>
              <a:rPr lang="ru-RU" baseline="0" dirty="0" smtClean="0"/>
              <a:t> «Корпоративные закупки» выполнено так, чтобы функционал по товарному планированию и закупкам конфигурации «1С:</a:t>
            </a:r>
            <a:r>
              <a:rPr lang="en-US" baseline="0" dirty="0" smtClean="0"/>
              <a:t>ERP</a:t>
            </a:r>
            <a:r>
              <a:rPr lang="ru-RU" baseline="0" dirty="0" smtClean="0"/>
              <a:t>.Управление предприятием», работал в полном объеме, независимо от использования или не использования функционала «Корпоративные закупки».  </a:t>
            </a:r>
            <a:r>
              <a:rPr lang="ru-RU" dirty="0" smtClean="0"/>
              <a:t>Для использования</a:t>
            </a:r>
            <a:r>
              <a:rPr lang="ru-RU" baseline="0" dirty="0" smtClean="0"/>
              <a:t> подсистемы, необходимо включить опцию «Использовать корпоративные закупки» и провести первичную настройку. </a:t>
            </a:r>
          </a:p>
          <a:p>
            <a:endParaRPr lang="ru-RU" b="1" baseline="0" dirty="0" smtClean="0"/>
          </a:p>
          <a:p>
            <a:r>
              <a:rPr lang="ru-RU" b="1" baseline="0" dirty="0" smtClean="0"/>
              <a:t>Валюта учета закупок</a:t>
            </a:r>
            <a:r>
              <a:rPr lang="ru-RU" baseline="0" dirty="0" smtClean="0"/>
              <a:t> - выполняет роль управленческой валюты, в которую выполняется пересчет любых данных по закупочной деятельности. Для организаций, ведущих учет по 223-ФЗ валюта всегда должна принимать значение </a:t>
            </a:r>
            <a:r>
              <a:rPr lang="en-US" baseline="0" dirty="0" smtClean="0"/>
              <a:t>RUB</a:t>
            </a:r>
            <a:r>
              <a:rPr lang="ru-RU" baseline="0" dirty="0" smtClean="0"/>
              <a:t>. Остальные организации могут использовать ту валюту, в которой они хотят анализировать закупочную деятельность. </a:t>
            </a:r>
          </a:p>
          <a:p>
            <a:r>
              <a:rPr lang="ru-RU" b="1" dirty="0" smtClean="0"/>
              <a:t>Тип цен для расценки потребности</a:t>
            </a:r>
            <a:r>
              <a:rPr lang="ru-RU" dirty="0" smtClean="0"/>
              <a:t> - используется для расчета стоимости закупаемых ресурсов. Как правило, это цены планового</a:t>
            </a:r>
            <a:r>
              <a:rPr lang="ru-RU" baseline="0" dirty="0" smtClean="0"/>
              <a:t> отдела. Контроль лимитов выполняется по стоимости, рассчитанной от плановых цен.</a:t>
            </a:r>
          </a:p>
          <a:p>
            <a:r>
              <a:rPr lang="ru-RU" b="1" baseline="0" dirty="0" smtClean="0"/>
              <a:t>Периодичность закупок</a:t>
            </a:r>
            <a:r>
              <a:rPr lang="ru-RU" baseline="0" dirty="0" smtClean="0"/>
              <a:t> – значение по умолчанию «месяц». Рекомендованное значение «месяц». Определяет периодичность планов закупок и их актуализации. </a:t>
            </a:r>
          </a:p>
          <a:p>
            <a:r>
              <a:rPr lang="ru-RU" b="1" baseline="0" dirty="0" smtClean="0"/>
              <a:t>Параметры планирования закупочных процедур </a:t>
            </a:r>
            <a:r>
              <a:rPr lang="ru-RU" baseline="0" dirty="0" smtClean="0"/>
              <a:t>задают значения по умолчанию для расчета длительности закупочных процедур в правилах закупки. </a:t>
            </a:r>
          </a:p>
          <a:p>
            <a:r>
              <a:rPr lang="ru-RU" b="1" baseline="0" dirty="0" smtClean="0"/>
              <a:t>Разделять номенклатуру по </a:t>
            </a:r>
            <a:r>
              <a:rPr lang="ru-RU" b="1" baseline="0" dirty="0" err="1" smtClean="0"/>
              <a:t>категорийным</a:t>
            </a:r>
            <a:r>
              <a:rPr lang="ru-RU" b="1" baseline="0" dirty="0" smtClean="0"/>
              <a:t> менеджерам </a:t>
            </a:r>
            <a:r>
              <a:rPr lang="ru-RU" baseline="0" dirty="0" smtClean="0"/>
              <a:t>– если флаг установлен, то закупаемые ТРУ будут доступны только конкретным менеджерам в конкретной организации. Используется в обработке «Помощник формирования СПЗ»</a:t>
            </a:r>
          </a:p>
          <a:p>
            <a:r>
              <a:rPr lang="ru-RU" b="1" baseline="0" dirty="0" smtClean="0"/>
              <a:t>Правила закупки</a:t>
            </a:r>
            <a:r>
              <a:rPr lang="ru-RU" baseline="0" dirty="0" smtClean="0"/>
              <a:t> – правила разрабатываются отдельно для организаций, ведущих учет по 223-ФЗ и отдельно для всех остальных организаций.  Нужно определить правила для организации. Можно использовать &lt;По всем организациям&gt;, </a:t>
            </a:r>
            <a:r>
              <a:rPr lang="en-US" baseline="0" dirty="0" smtClean="0"/>
              <a:t>&lt;</a:t>
            </a:r>
            <a:r>
              <a:rPr lang="ru-RU" baseline="0" dirty="0" smtClean="0"/>
              <a:t>По всем категориям</a:t>
            </a:r>
            <a:r>
              <a:rPr lang="en-US" baseline="0" dirty="0" smtClean="0"/>
              <a:t>&gt;</a:t>
            </a:r>
            <a:r>
              <a:rPr lang="ru-RU" baseline="0" dirty="0" smtClean="0"/>
              <a:t>. Обязательно только явное указание </a:t>
            </a:r>
            <a:r>
              <a:rPr lang="ru-RU" baseline="0" dirty="0" err="1" smtClean="0"/>
              <a:t>категорийного</a:t>
            </a:r>
            <a:r>
              <a:rPr lang="ru-RU" baseline="0" dirty="0" smtClean="0"/>
              <a:t> менеджера.  </a:t>
            </a:r>
          </a:p>
          <a:p>
            <a:r>
              <a:rPr lang="ru-RU" b="1" baseline="0" dirty="0" smtClean="0"/>
              <a:t>Характеристики номенклатуры</a:t>
            </a:r>
            <a:r>
              <a:rPr lang="ru-RU" baseline="0" dirty="0" smtClean="0"/>
              <a:t> – дублирует константу «использовать характеристики номенклатуры». Значение константы влияет на использование характеристик всех подсистемах конфигур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/>
          </p:cNvPr>
          <p:cNvSpPr>
            <a:spLocks noChangeArrowheads="1"/>
          </p:cNvSpPr>
          <p:nvPr userDrawn="1"/>
        </p:nvSpPr>
        <p:spPr bwMode="auto">
          <a:xfrm rot="5400000">
            <a:off x="2856706" y="-2856706"/>
            <a:ext cx="3430588" cy="9144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402987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1825628"/>
            <a:ext cx="7886700" cy="4352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6988371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630246" y="1681167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630246" y="2505075"/>
            <a:ext cx="3868737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/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7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/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3525636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2862286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426218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246" y="457200"/>
            <a:ext cx="2949575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630246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09" indent="0">
              <a:buNone/>
              <a:defRPr sz="1400"/>
            </a:lvl2pPr>
            <a:lvl3pPr marL="914217" indent="0">
              <a:buNone/>
              <a:defRPr sz="1200"/>
            </a:lvl3pPr>
            <a:lvl4pPr marL="1371326" indent="0">
              <a:buNone/>
              <a:defRPr sz="1000"/>
            </a:lvl4pPr>
            <a:lvl5pPr marL="1828434" indent="0">
              <a:buNone/>
              <a:defRPr sz="1000"/>
            </a:lvl5pPr>
            <a:lvl6pPr marL="2285543" indent="0">
              <a:buNone/>
              <a:defRPr sz="1000"/>
            </a:lvl6pPr>
            <a:lvl7pPr marL="2742651" indent="0">
              <a:buNone/>
              <a:defRPr sz="1000"/>
            </a:lvl7pPr>
            <a:lvl8pPr marL="3199760" indent="0">
              <a:buNone/>
              <a:defRPr sz="1000"/>
            </a:lvl8pPr>
            <a:lvl9pPr marL="365686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4260685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246" y="457200"/>
            <a:ext cx="2949575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/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/>
            </a:lvl1pPr>
            <a:lvl2pPr marL="457109" indent="0">
              <a:buNone/>
              <a:defRPr sz="2799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8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630246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09" indent="0">
              <a:buNone/>
              <a:defRPr sz="1400"/>
            </a:lvl2pPr>
            <a:lvl3pPr marL="914217" indent="0">
              <a:buNone/>
              <a:defRPr sz="1200"/>
            </a:lvl3pPr>
            <a:lvl4pPr marL="1371326" indent="0">
              <a:buNone/>
              <a:defRPr sz="1000"/>
            </a:lvl4pPr>
            <a:lvl5pPr marL="1828434" indent="0">
              <a:buNone/>
              <a:defRPr sz="1000"/>
            </a:lvl5pPr>
            <a:lvl6pPr marL="2285543" indent="0">
              <a:buNone/>
              <a:defRPr sz="1000"/>
            </a:lvl6pPr>
            <a:lvl7pPr marL="2742651" indent="0">
              <a:buNone/>
              <a:defRPr sz="1000"/>
            </a:lvl7pPr>
            <a:lvl8pPr marL="3199760" indent="0">
              <a:buNone/>
              <a:defRPr sz="1000"/>
            </a:lvl8pPr>
            <a:lvl9pPr marL="365686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3956738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1825629"/>
            <a:ext cx="7886700" cy="4352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5004441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/>
          </p:cNvPr>
          <p:cNvSpPr>
            <a:spLocks noGrp="1"/>
          </p:cNvSpPr>
          <p:nvPr>
            <p:ph type="title" orient="vert"/>
          </p:nvPr>
        </p:nvSpPr>
        <p:spPr>
          <a:xfrm>
            <a:off x="6543676" y="0"/>
            <a:ext cx="1971675" cy="61785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628658" y="0"/>
            <a:ext cx="5762625" cy="61785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925014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/>
          </p:cNvPr>
          <p:cNvSpPr>
            <a:spLocks noGrp="1"/>
          </p:cNvSpPr>
          <p:nvPr>
            <p:ph type="title" orient="vert"/>
          </p:nvPr>
        </p:nvSpPr>
        <p:spPr>
          <a:xfrm>
            <a:off x="6543676" y="0"/>
            <a:ext cx="1971675" cy="61785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628656" y="0"/>
            <a:ext cx="5762625" cy="61785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261698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ctrTitle"/>
          </p:nvPr>
        </p:nvSpPr>
        <p:spPr>
          <a:xfrm>
            <a:off x="1143000" y="1122366"/>
            <a:ext cx="6858000" cy="238918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/>
          </p:cNvPr>
          <p:cNvSpPr>
            <a:spLocks noGrp="1"/>
          </p:cNvSpPr>
          <p:nvPr>
            <p:ph type="subTitle" idx="1"/>
          </p:nvPr>
        </p:nvSpPr>
        <p:spPr>
          <a:xfrm>
            <a:off x="1143000" y="3603625"/>
            <a:ext cx="6858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695931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>
          <a:xfrm>
            <a:off x="628650" y="1825628"/>
            <a:ext cx="788670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473416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432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623888" y="4591050"/>
            <a:ext cx="7886700" cy="15001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843755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sz="half" idx="1"/>
          </p:nvPr>
        </p:nvSpPr>
        <p:spPr>
          <a:xfrm>
            <a:off x="628650" y="182562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4648200" y="182562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396119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630244" y="1681166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630244" y="2505075"/>
            <a:ext cx="3868737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/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6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/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61978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866437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25572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711311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>
          <a:xfrm>
            <a:off x="628650" y="1825628"/>
            <a:ext cx="788670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332443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/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68736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1825628"/>
            <a:ext cx="7886700" cy="4352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3656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/>
          </p:cNvPr>
          <p:cNvSpPr>
            <a:spLocks noGrp="1"/>
          </p:cNvSpPr>
          <p:nvPr>
            <p:ph type="title" orient="vert"/>
          </p:nvPr>
        </p:nvSpPr>
        <p:spPr>
          <a:xfrm>
            <a:off x="7015169" y="0"/>
            <a:ext cx="2128837" cy="68595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628651" y="0"/>
            <a:ext cx="6234113" cy="68595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035441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 userDrawn="1"/>
        </p:nvSpPr>
        <p:spPr bwMode="auto">
          <a:xfrm>
            <a:off x="1747838" y="184150"/>
            <a:ext cx="7237412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>
                <a:solidFill>
                  <a:srgbClr val="333333"/>
                </a:solidFill>
                <a:latin typeface="Arial" charset="0"/>
              </a:defRPr>
            </a:lvl1pPr>
            <a:lvl2pPr marL="742950" indent="-285750">
              <a:lnSpc>
                <a:spcPct val="9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charset="0"/>
              </a:defRPr>
            </a:lvl2pPr>
            <a:lvl3pPr marL="11430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charset="0"/>
              </a:defRPr>
            </a:lvl3pPr>
            <a:lvl4pPr marL="16002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200">
                <a:solidFill>
                  <a:srgbClr val="333333"/>
                </a:solidFill>
                <a:latin typeface="Arial" charset="0"/>
              </a:defRPr>
            </a:lvl4pPr>
            <a:lvl5pPr marL="2057400" indent="-228600">
              <a:lnSpc>
                <a:spcPct val="90000"/>
              </a:lnSpc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2800" b="1" dirty="0" smtClean="0">
                <a:solidFill>
                  <a:srgbClr val="CC3300"/>
                </a:solidFill>
              </a:rPr>
              <a:t>Бизнес-форум 1С:</a:t>
            </a:r>
            <a:r>
              <a:rPr lang="en-US" altLang="ru-RU" sz="2800" b="1" dirty="0" smtClean="0">
                <a:solidFill>
                  <a:srgbClr val="CC3300"/>
                </a:solidFill>
              </a:rPr>
              <a:t>ERP</a:t>
            </a:r>
            <a:r>
              <a:rPr lang="ru-RU" altLang="ru-RU" sz="2800" b="1" dirty="0" smtClean="0">
                <a:solidFill>
                  <a:srgbClr val="CC3300"/>
                </a:solidFill>
              </a:rPr>
              <a:t>  </a:t>
            </a:r>
            <a:endParaRPr lang="en-US" altLang="ru-RU" sz="2800" b="1" dirty="0" smtClean="0">
              <a:solidFill>
                <a:srgbClr val="CC3300"/>
              </a:solidFill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dirty="0" smtClean="0">
                <a:solidFill>
                  <a:srgbClr val="CC3300"/>
                </a:solidFill>
              </a:rPr>
              <a:t>2</a:t>
            </a:r>
            <a:r>
              <a:rPr lang="en-US" altLang="ru-RU" dirty="0" smtClean="0">
                <a:solidFill>
                  <a:srgbClr val="CC3300"/>
                </a:solidFill>
              </a:rPr>
              <a:t>8</a:t>
            </a:r>
            <a:r>
              <a:rPr lang="ru-RU" altLang="ru-RU" dirty="0" smtClean="0">
                <a:solidFill>
                  <a:srgbClr val="CC3300"/>
                </a:solidFill>
              </a:rPr>
              <a:t> октября 201</a:t>
            </a:r>
            <a:r>
              <a:rPr lang="en-US" altLang="ru-RU" dirty="0" smtClean="0">
                <a:solidFill>
                  <a:srgbClr val="CC3300"/>
                </a:solidFill>
              </a:rPr>
              <a:t>6</a:t>
            </a:r>
            <a:r>
              <a:rPr lang="ru-RU" altLang="ru-RU" dirty="0" smtClean="0">
                <a:solidFill>
                  <a:srgbClr val="CC3300"/>
                </a:solidFill>
              </a:rPr>
              <a:t> года</a:t>
            </a:r>
          </a:p>
        </p:txBody>
      </p:sp>
    </p:spTree>
    <p:extLst>
      <p:ext uri="{BB962C8B-B14F-4D97-AF65-F5344CB8AC3E}">
        <p14:creationId xmlns:p14="http://schemas.microsoft.com/office/powerpoint/2010/main" val="3155889029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1082"/>
            <a:ext cx="8928100" cy="525742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D05BDC-1E66-4FDD-BE07-33C90D9A4E2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60884508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921"/>
            <a:ext cx="7772400" cy="136239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7390"/>
            <a:ext cx="7772400" cy="1500534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97D08D-1AFB-4DC6-AAF9-A6170AF177C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33062856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710"/>
            <a:ext cx="4387850" cy="525742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710"/>
            <a:ext cx="4387850" cy="525742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9645E2-C0BF-442D-B452-CB09129DD79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59478776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701"/>
            <a:ext cx="8229600" cy="1143265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469"/>
            <a:ext cx="4040188" cy="6399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5382"/>
            <a:ext cx="4040188" cy="395220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2" y="1535469"/>
            <a:ext cx="4041775" cy="6399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2" y="2175382"/>
            <a:ext cx="4041775" cy="395220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18F763-7939-4EE7-97B1-8F72736B0DF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86952091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57D6B1-BCA2-4B2F-9606-9CAE49B75D7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3211606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199BB9-D1A1-4808-A703-F73D98A5DE6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3910621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432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623888" y="4591050"/>
            <a:ext cx="7886700" cy="15001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967285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113"/>
            <a:ext cx="3008313" cy="116231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117"/>
            <a:ext cx="5111750" cy="585446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436"/>
            <a:ext cx="3008313" cy="469214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76252F-D486-4503-B401-04AF855AFF7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93573493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1715"/>
            <a:ext cx="5486400" cy="56686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920"/>
            <a:ext cx="5486400" cy="411575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8581"/>
            <a:ext cx="5486400" cy="80504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795B3B-4312-42AB-B9C0-B4A92EEEFAD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75053255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E4FB39-12FD-4933-A4F0-83E83AFCA9E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88668494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8" y="-26994"/>
            <a:ext cx="2232025" cy="655313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5" y="-26994"/>
            <a:ext cx="6543675" cy="655313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DEA4F7-67CC-4D0F-9EB5-54DE879102E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2211159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1" y="-26994"/>
            <a:ext cx="4824413" cy="10813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710"/>
            <a:ext cx="4387850" cy="525742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710"/>
            <a:ext cx="4387850" cy="255170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2848"/>
            <a:ext cx="4387850" cy="255329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DF9577-1839-470F-8DDF-B7B4FAD9B2C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51817440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1" y="-26994"/>
            <a:ext cx="4824413" cy="10813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710"/>
            <a:ext cx="4387850" cy="255170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710"/>
            <a:ext cx="4387850" cy="255170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2848"/>
            <a:ext cx="4387850" cy="255329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2848"/>
            <a:ext cx="4387850" cy="255329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0194C-F1A9-4641-9056-65EAE93F2FF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74663441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/>
          </p:cNvPr>
          <p:cNvSpPr>
            <a:spLocks noChangeArrowheads="1"/>
          </p:cNvSpPr>
          <p:nvPr userDrawn="1"/>
        </p:nvSpPr>
        <p:spPr bwMode="auto">
          <a:xfrm rot="5400000">
            <a:off x="2856706" y="-2856706"/>
            <a:ext cx="3430588" cy="9144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6876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>
          <a:xfrm>
            <a:off x="628650" y="1825628"/>
            <a:ext cx="788670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219819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432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623888" y="4591050"/>
            <a:ext cx="7886700" cy="15001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343637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sz="half" idx="1"/>
          </p:nvPr>
        </p:nvSpPr>
        <p:spPr>
          <a:xfrm>
            <a:off x="628650" y="182562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4648200" y="182562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319262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sz="half" idx="1"/>
          </p:nvPr>
        </p:nvSpPr>
        <p:spPr>
          <a:xfrm>
            <a:off x="628650" y="182562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4648200" y="182562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007928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630244" y="1681166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630244" y="2505075"/>
            <a:ext cx="3868737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/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6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/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352531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152904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6866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5398909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/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059058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1825628"/>
            <a:ext cx="7886700" cy="4352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904764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/>
          </p:cNvPr>
          <p:cNvSpPr>
            <a:spLocks noGrp="1"/>
          </p:cNvSpPr>
          <p:nvPr>
            <p:ph type="title" orient="vert"/>
          </p:nvPr>
        </p:nvSpPr>
        <p:spPr>
          <a:xfrm>
            <a:off x="6543676" y="0"/>
            <a:ext cx="1971675" cy="61785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628656" y="0"/>
            <a:ext cx="5762625" cy="61785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33541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/>
          </p:cNvPr>
          <p:cNvSpPr>
            <a:spLocks noChangeArrowheads="1"/>
          </p:cNvSpPr>
          <p:nvPr userDrawn="1"/>
        </p:nvSpPr>
        <p:spPr bwMode="auto">
          <a:xfrm rot="5400000">
            <a:off x="2856706" y="-2856706"/>
            <a:ext cx="3430588" cy="9144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8396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>
          <a:xfrm>
            <a:off x="628650" y="1825628"/>
            <a:ext cx="788670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433346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432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623888" y="4591050"/>
            <a:ext cx="7886700" cy="15001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118824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630244" y="1681166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630244" y="2505075"/>
            <a:ext cx="3868737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/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6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/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022184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sz="half" idx="1"/>
          </p:nvPr>
        </p:nvSpPr>
        <p:spPr>
          <a:xfrm>
            <a:off x="628650" y="182562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4648200" y="182562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381461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630244" y="1681166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630244" y="2505075"/>
            <a:ext cx="3868737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/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6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/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979594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960865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02325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953436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/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6961349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1825628"/>
            <a:ext cx="7886700" cy="4352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794848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/>
          </p:cNvPr>
          <p:cNvSpPr>
            <a:spLocks noGrp="1"/>
          </p:cNvSpPr>
          <p:nvPr>
            <p:ph type="title" orient="vert"/>
          </p:nvPr>
        </p:nvSpPr>
        <p:spPr>
          <a:xfrm>
            <a:off x="6543676" y="0"/>
            <a:ext cx="1971675" cy="61785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628656" y="0"/>
            <a:ext cx="5762625" cy="61785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658434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 userDrawn="1"/>
        </p:nvSpPr>
        <p:spPr bwMode="auto">
          <a:xfrm>
            <a:off x="1747838" y="184150"/>
            <a:ext cx="7237412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>
                <a:solidFill>
                  <a:srgbClr val="333333"/>
                </a:solidFill>
                <a:latin typeface="Arial" charset="0"/>
              </a:defRPr>
            </a:lvl1pPr>
            <a:lvl2pPr marL="742950" indent="-285750">
              <a:lnSpc>
                <a:spcPct val="9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charset="0"/>
              </a:defRPr>
            </a:lvl2pPr>
            <a:lvl3pPr marL="11430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charset="0"/>
              </a:defRPr>
            </a:lvl3pPr>
            <a:lvl4pPr marL="16002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200">
                <a:solidFill>
                  <a:srgbClr val="333333"/>
                </a:solidFill>
                <a:latin typeface="Arial" charset="0"/>
              </a:defRPr>
            </a:lvl4pPr>
            <a:lvl5pPr marL="2057400" indent="-228600">
              <a:lnSpc>
                <a:spcPct val="90000"/>
              </a:lnSpc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2800" b="1" dirty="0" smtClean="0">
                <a:solidFill>
                  <a:srgbClr val="CC3300"/>
                </a:solidFill>
              </a:rPr>
              <a:t>Бизнес-форум 1С:</a:t>
            </a:r>
            <a:r>
              <a:rPr lang="en-US" altLang="ru-RU" sz="2800" b="1" dirty="0" smtClean="0">
                <a:solidFill>
                  <a:srgbClr val="CC3300"/>
                </a:solidFill>
              </a:rPr>
              <a:t>ERP</a:t>
            </a:r>
            <a:r>
              <a:rPr lang="ru-RU" altLang="ru-RU" sz="2800" b="1" dirty="0" smtClean="0">
                <a:solidFill>
                  <a:srgbClr val="CC3300"/>
                </a:solidFill>
              </a:rPr>
              <a:t>  </a:t>
            </a:r>
            <a:endParaRPr lang="en-US" altLang="ru-RU" sz="2800" b="1" dirty="0" smtClean="0">
              <a:solidFill>
                <a:srgbClr val="CC3300"/>
              </a:solidFill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dirty="0" smtClean="0">
                <a:solidFill>
                  <a:srgbClr val="CC3300"/>
                </a:solidFill>
              </a:rPr>
              <a:t>2</a:t>
            </a:r>
            <a:r>
              <a:rPr lang="en-US" altLang="ru-RU" dirty="0" smtClean="0">
                <a:solidFill>
                  <a:srgbClr val="CC3300"/>
                </a:solidFill>
              </a:rPr>
              <a:t>8</a:t>
            </a:r>
            <a:r>
              <a:rPr lang="ru-RU" altLang="ru-RU" dirty="0" smtClean="0">
                <a:solidFill>
                  <a:srgbClr val="CC3300"/>
                </a:solidFill>
              </a:rPr>
              <a:t> октября 201</a:t>
            </a:r>
            <a:r>
              <a:rPr lang="en-US" altLang="ru-RU" dirty="0" smtClean="0">
                <a:solidFill>
                  <a:srgbClr val="CC3300"/>
                </a:solidFill>
              </a:rPr>
              <a:t>6</a:t>
            </a:r>
            <a:r>
              <a:rPr lang="ru-RU" altLang="ru-RU" dirty="0" smtClean="0">
                <a:solidFill>
                  <a:srgbClr val="CC3300"/>
                </a:solidFill>
              </a:rPr>
              <a:t> года</a:t>
            </a:r>
          </a:p>
        </p:txBody>
      </p:sp>
    </p:spTree>
    <p:extLst>
      <p:ext uri="{BB962C8B-B14F-4D97-AF65-F5344CB8AC3E}">
        <p14:creationId xmlns:p14="http://schemas.microsoft.com/office/powerpoint/2010/main" val="3676038068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1081"/>
            <a:ext cx="8928100" cy="525742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E9BE28-3859-48CA-BDD1-2AF4710C4F6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99138541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9460121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921"/>
            <a:ext cx="7772400" cy="136239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7389"/>
            <a:ext cx="7772400" cy="1500534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181706-990E-4C24-9402-5275021E0D0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08947444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709"/>
            <a:ext cx="4387850" cy="525742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709"/>
            <a:ext cx="4387850" cy="525742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4B44FD-3C32-43D5-AFBF-D8DA0375A4F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03266075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701"/>
            <a:ext cx="8229600" cy="1143265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469"/>
            <a:ext cx="4040188" cy="6399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5381"/>
            <a:ext cx="4040188" cy="395220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0" y="1535469"/>
            <a:ext cx="4041775" cy="6399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0" y="2175381"/>
            <a:ext cx="4041775" cy="395220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73315E-5FC6-4153-947D-E115F63EF90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68141833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0CA4E0-0DD3-4625-967A-7F00D431154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44113572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CDF53A-774A-481B-A46F-55D30F7B586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04171914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113"/>
            <a:ext cx="3008313" cy="116231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116"/>
            <a:ext cx="5111750" cy="585446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435"/>
            <a:ext cx="3008313" cy="469214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BD2AB8-EA91-4D42-AAC6-362102E0306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25016414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1714"/>
            <a:ext cx="5486400" cy="56686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919"/>
            <a:ext cx="5486400" cy="411575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8581"/>
            <a:ext cx="5486400" cy="80504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45CC04-C2FC-43B6-8FA3-2FFE6B84599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55190681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EF9CE4-C33E-471E-ADDC-FC80CEF2585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2715482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8" y="-26994"/>
            <a:ext cx="2232025" cy="655313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5" y="-26994"/>
            <a:ext cx="6543675" cy="655313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E31BB5-84AD-4B85-84F6-8345AA4CADE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92150965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1" y="-26994"/>
            <a:ext cx="4824413" cy="10813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709"/>
            <a:ext cx="4387850" cy="525742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709"/>
            <a:ext cx="4387850" cy="255170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2847"/>
            <a:ext cx="4387850" cy="255329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64B7DC-1818-4982-85FF-D9DF0D424F7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928267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626858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1" y="-26994"/>
            <a:ext cx="4824413" cy="10813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709"/>
            <a:ext cx="4387850" cy="255170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709"/>
            <a:ext cx="4387850" cy="255170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2847"/>
            <a:ext cx="4387850" cy="255329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2847"/>
            <a:ext cx="4387850" cy="255329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8CB5BC-67CC-4329-96BE-F5D135DF389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24695230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 userDrawn="1"/>
        </p:nvSpPr>
        <p:spPr bwMode="auto">
          <a:xfrm>
            <a:off x="1747838" y="184150"/>
            <a:ext cx="7237412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>
                <a:solidFill>
                  <a:srgbClr val="333333"/>
                </a:solidFill>
                <a:latin typeface="Arial" charset="0"/>
              </a:defRPr>
            </a:lvl1pPr>
            <a:lvl2pPr marL="742950" indent="-285750">
              <a:lnSpc>
                <a:spcPct val="9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charset="0"/>
              </a:defRPr>
            </a:lvl2pPr>
            <a:lvl3pPr marL="11430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charset="0"/>
              </a:defRPr>
            </a:lvl3pPr>
            <a:lvl4pPr marL="16002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200">
                <a:solidFill>
                  <a:srgbClr val="333333"/>
                </a:solidFill>
                <a:latin typeface="Arial" charset="0"/>
              </a:defRPr>
            </a:lvl4pPr>
            <a:lvl5pPr marL="2057400" indent="-228600">
              <a:lnSpc>
                <a:spcPct val="90000"/>
              </a:lnSpc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2800" b="1" smtClean="0">
                <a:solidFill>
                  <a:srgbClr val="CC3300"/>
                </a:solidFill>
              </a:rPr>
              <a:t>Бизнес-форум 1С:</a:t>
            </a:r>
            <a:r>
              <a:rPr lang="en-US" altLang="ru-RU" sz="2800" b="1" smtClean="0">
                <a:solidFill>
                  <a:srgbClr val="CC3300"/>
                </a:solidFill>
              </a:rPr>
              <a:t>ERP</a:t>
            </a:r>
            <a:r>
              <a:rPr lang="ru-RU" altLang="ru-RU" sz="2800" b="1" smtClean="0">
                <a:solidFill>
                  <a:srgbClr val="CC3300"/>
                </a:solidFill>
              </a:rPr>
              <a:t>  </a:t>
            </a:r>
            <a:endParaRPr lang="en-US" altLang="ru-RU" sz="2800" b="1" smtClean="0">
              <a:solidFill>
                <a:srgbClr val="CC3300"/>
              </a:solidFill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mtClean="0">
                <a:solidFill>
                  <a:srgbClr val="CC3300"/>
                </a:solidFill>
              </a:rPr>
              <a:t>2</a:t>
            </a:r>
            <a:r>
              <a:rPr lang="en-US" altLang="ru-RU" smtClean="0">
                <a:solidFill>
                  <a:srgbClr val="CC3300"/>
                </a:solidFill>
              </a:rPr>
              <a:t>3</a:t>
            </a:r>
            <a:r>
              <a:rPr lang="ru-RU" altLang="ru-RU" smtClean="0">
                <a:solidFill>
                  <a:srgbClr val="CC3300"/>
                </a:solidFill>
              </a:rPr>
              <a:t> октября 2015 года</a:t>
            </a:r>
          </a:p>
        </p:txBody>
      </p:sp>
    </p:spTree>
    <p:extLst>
      <p:ext uri="{BB962C8B-B14F-4D97-AF65-F5344CB8AC3E}">
        <p14:creationId xmlns:p14="http://schemas.microsoft.com/office/powerpoint/2010/main" val="31598353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1079"/>
            <a:ext cx="8928100" cy="525742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89B67E-3B4B-4708-9380-D0617BA97F8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3914272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921"/>
            <a:ext cx="7772400" cy="136239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7387"/>
            <a:ext cx="7772400" cy="1500534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C84B19-9EBE-478D-9418-9F3F66A8E1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6945411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707"/>
            <a:ext cx="4387850" cy="525742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707"/>
            <a:ext cx="4387850" cy="525742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049AD0-4D43-4388-B1C3-B11CD19550E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2723735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701"/>
            <a:ext cx="8229600" cy="1143265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469"/>
            <a:ext cx="4040188" cy="6399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5379"/>
            <a:ext cx="4040188" cy="395220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469"/>
            <a:ext cx="4041775" cy="6399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5379"/>
            <a:ext cx="4041775" cy="395220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3F6B5A-9AEA-4EB3-9D65-1FE454A4F41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8557662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A88D6F-DB89-48D3-A6FC-BFB2CA12CC3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4708522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E6EADE-9914-4B22-B794-063802EA8DC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64838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113"/>
            <a:ext cx="3008313" cy="116231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114"/>
            <a:ext cx="5111750" cy="585446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433"/>
            <a:ext cx="3008313" cy="469214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488DA3-84E3-432A-922E-AB537616511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1187679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1712"/>
            <a:ext cx="5486400" cy="56686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917"/>
            <a:ext cx="5486400" cy="411575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8581"/>
            <a:ext cx="5486400" cy="80504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F152BD-4F8C-404C-BAC6-13BD7BA9264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586910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242549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0AEC74-EA17-4570-9898-0BAA397F354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5967930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6" y="-26994"/>
            <a:ext cx="2232025" cy="655313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1" y="-26994"/>
            <a:ext cx="6543675" cy="655313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AA6E5D-AABC-4BEC-A597-38C14318FAE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555632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1" y="-26994"/>
            <a:ext cx="4824413" cy="10813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707"/>
            <a:ext cx="4387850" cy="525742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707"/>
            <a:ext cx="4387850" cy="255170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2845"/>
            <a:ext cx="4387850" cy="255329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D1D037-AAA5-479F-AE2D-674B27B8DC2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0106815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1" y="-26994"/>
            <a:ext cx="4824413" cy="10813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707"/>
            <a:ext cx="4387850" cy="255170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707"/>
            <a:ext cx="4387850" cy="255170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2845"/>
            <a:ext cx="4387850" cy="255329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2845"/>
            <a:ext cx="4387850" cy="255329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764871-2D00-458C-B6CF-43660501763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7095076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>
            <a:off x="-23813" y="6526213"/>
            <a:ext cx="3082926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800" smtClean="0">
                <a:solidFill>
                  <a:srgbClr val="5F0000"/>
                </a:solidFill>
              </a:rPr>
              <a:t>1С: Управление холдингом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7938" y="314398"/>
            <a:ext cx="5003800" cy="3143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4800" y="1200428"/>
            <a:ext cx="4171950" cy="499384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29150" y="1200428"/>
            <a:ext cx="4171950" cy="241991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29150" y="3772773"/>
            <a:ext cx="4171950" cy="24214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D41C841-E3AF-4C11-A29C-A9400A80C51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7223271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/>
          </p:cNvPr>
          <p:cNvSpPr>
            <a:spLocks noChangeArrowheads="1"/>
          </p:cNvSpPr>
          <p:nvPr userDrawn="1"/>
        </p:nvSpPr>
        <p:spPr bwMode="auto">
          <a:xfrm rot="5400000">
            <a:off x="2856706" y="-2856706"/>
            <a:ext cx="3430588" cy="9144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20964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>
          <a:xfrm>
            <a:off x="628650" y="1825688"/>
            <a:ext cx="788670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0123606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23888" y="1709801"/>
            <a:ext cx="7886700" cy="285432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623888" y="4591050"/>
            <a:ext cx="7886700" cy="15001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632921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sz="half" idx="1"/>
          </p:nvPr>
        </p:nvSpPr>
        <p:spPr>
          <a:xfrm>
            <a:off x="628650" y="182568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4648200" y="182568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6909166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630267" y="1681226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630267" y="2505075"/>
            <a:ext cx="3868737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/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226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/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88310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/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8327852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7165789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380896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309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630309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6199129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30309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/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630309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3259723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1825688"/>
            <a:ext cx="7886700" cy="4352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0638136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/>
          </p:cNvPr>
          <p:cNvSpPr>
            <a:spLocks noGrp="1"/>
          </p:cNvSpPr>
          <p:nvPr>
            <p:ph type="title" orient="vert"/>
          </p:nvPr>
        </p:nvSpPr>
        <p:spPr>
          <a:xfrm>
            <a:off x="6543676" y="0"/>
            <a:ext cx="1971675" cy="61785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628662" y="0"/>
            <a:ext cx="5762625" cy="61785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1479796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/>
          </p:cNvPr>
          <p:cNvSpPr>
            <a:spLocks noChangeArrowheads="1"/>
          </p:cNvSpPr>
          <p:nvPr userDrawn="1"/>
        </p:nvSpPr>
        <p:spPr bwMode="auto">
          <a:xfrm rot="5400000">
            <a:off x="2856706" y="-2856706"/>
            <a:ext cx="3430588" cy="9144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875273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>
          <a:xfrm>
            <a:off x="628650" y="1825629"/>
            <a:ext cx="788670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2922670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623888" y="1709742"/>
            <a:ext cx="7886700" cy="2854325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623888" y="4591050"/>
            <a:ext cx="7886700" cy="15001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109" indent="0">
              <a:buNone/>
              <a:defRPr sz="2000"/>
            </a:lvl2pPr>
            <a:lvl3pPr marL="914217" indent="0">
              <a:buNone/>
              <a:defRPr sz="1800"/>
            </a:lvl3pPr>
            <a:lvl4pPr marL="1371326" indent="0">
              <a:buNone/>
              <a:defRPr sz="1600"/>
            </a:lvl4pPr>
            <a:lvl5pPr marL="1828434" indent="0">
              <a:buNone/>
              <a:defRPr sz="1600"/>
            </a:lvl5pPr>
            <a:lvl6pPr marL="2285543" indent="0">
              <a:buNone/>
              <a:defRPr sz="1600"/>
            </a:lvl6pPr>
            <a:lvl7pPr marL="2742651" indent="0">
              <a:buNone/>
              <a:defRPr sz="1600"/>
            </a:lvl7pPr>
            <a:lvl8pPr marL="3199760" indent="0">
              <a:buNone/>
              <a:defRPr sz="1600"/>
            </a:lvl8pPr>
            <a:lvl9pPr marL="3656868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7951723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sz="half" idx="1"/>
          </p:nvPr>
        </p:nvSpPr>
        <p:spPr>
          <a:xfrm>
            <a:off x="628650" y="1825629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4648200" y="1825629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503075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vmlDrawing" Target="../drawings/vmlDrawing2.v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7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45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ags" Target="../tags/tag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vmlDrawing" Target="../drawings/vmlDrawing3.v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8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56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tags" Target="../tags/tag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vmlDrawing" Target="../drawings/vmlDrawing4.vml"/><Relationship Id="rId18" Type="http://schemas.openxmlformats.org/officeDocument/2006/relationships/oleObject" Target="../embeddings/oleObject8.bin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theme" Target="../theme/theme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86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9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tags" Target="../tags/tag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vmlDrawing" Target="../drawings/vmlDrawing5.vml"/><Relationship Id="rId18" Type="http://schemas.openxmlformats.org/officeDocument/2006/relationships/oleObject" Target="../embeddings/oleObject10.bin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theme" Target="../theme/theme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97.xml"/><Relationship Id="rId16" Type="http://schemas.openxmlformats.org/officeDocument/2006/relationships/oleObject" Target="../embeddings/oleObject9.bin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105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>
            <a:extLst/>
          </p:cNvPr>
          <p:cNvSpPr>
            <a:spLocks noChangeArrowheads="1"/>
          </p:cNvSpPr>
          <p:nvPr userDrawn="1"/>
        </p:nvSpPr>
        <p:spPr bwMode="auto">
          <a:xfrm>
            <a:off x="0" y="3735388"/>
            <a:ext cx="182563" cy="37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/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117475"/>
            <a:ext cx="5767388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88420" name="Text Box 4">
            <a:extLst/>
          </p:cNvPr>
          <p:cNvSpPr txBox="1">
            <a:spLocks noChangeArrowheads="1"/>
          </p:cNvSpPr>
          <p:nvPr userDrawn="1"/>
        </p:nvSpPr>
        <p:spPr bwMode="auto">
          <a:xfrm>
            <a:off x="8172450" y="6310313"/>
            <a:ext cx="688975" cy="360362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  <a:defRPr/>
            </a:pPr>
            <a:fld id="{45647A1D-7CAD-4C0D-BF60-D7508C1EC10C}" type="slidenum">
              <a:rPr lang="ru-RU" altLang="ru-RU" sz="1600" b="1" smtClean="0">
                <a:solidFill>
                  <a:schemeClr val="tx2"/>
                </a:solidFill>
              </a:rPr>
              <a:pPr algn="r">
                <a:lnSpc>
                  <a:spcPct val="110000"/>
                </a:lnSpc>
                <a:spcBef>
                  <a:spcPct val="50000"/>
                </a:spcBef>
                <a:defRPr/>
              </a:pPr>
              <a:t>‹#›</a:t>
            </a:fld>
            <a:endParaRPr lang="ru-RU" altLang="ru-RU" sz="1600" b="1" smtClean="0">
              <a:solidFill>
                <a:schemeClr val="tx2"/>
              </a:solidFill>
            </a:endParaRPr>
          </a:p>
        </p:txBody>
      </p:sp>
      <p:sp>
        <p:nvSpPr>
          <p:cNvPr id="1031" name="Rectangle 36">
            <a:extLst/>
          </p:cNvPr>
          <p:cNvSpPr>
            <a:spLocks noChangeArrowheads="1"/>
          </p:cNvSpPr>
          <p:nvPr userDrawn="1"/>
        </p:nvSpPr>
        <p:spPr bwMode="auto">
          <a:xfrm>
            <a:off x="0" y="3733800"/>
            <a:ext cx="182563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/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99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5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00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5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15888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00" r:id="rId1"/>
    <p:sldLayoutId id="2147485713" r:id="rId2"/>
    <p:sldLayoutId id="2147485714" r:id="rId3"/>
    <p:sldLayoutId id="2147485715" r:id="rId4"/>
    <p:sldLayoutId id="2147485716" r:id="rId5"/>
    <p:sldLayoutId id="2147485717" r:id="rId6"/>
    <p:sldLayoutId id="2147485718" r:id="rId7"/>
    <p:sldLayoutId id="2147485719" r:id="rId8"/>
    <p:sldLayoutId id="2147485720" r:id="rId9"/>
    <p:sldLayoutId id="2147485721" r:id="rId10"/>
    <p:sldLayoutId id="2147485722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0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2339975" y="0"/>
            <a:ext cx="6804025" cy="6859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</a:t>
            </a:r>
            <a:r>
              <a:rPr lang="en-US" altLang="ru-RU" smtClean="0"/>
              <a:t/>
            </a:r>
            <a:br>
              <a:rPr lang="en-US" altLang="ru-RU" smtClean="0"/>
            </a:br>
            <a:r>
              <a:rPr lang="ru-RU" altLang="ru-RU" smtClean="0"/>
              <a:t>заголовка</a:t>
            </a:r>
          </a:p>
        </p:txBody>
      </p:sp>
      <p:sp>
        <p:nvSpPr>
          <p:cNvPr id="2058" name="Rectangle 33">
            <a:extLst/>
          </p:cNvPr>
          <p:cNvSpPr>
            <a:spLocks noChangeArrowheads="1"/>
          </p:cNvSpPr>
          <p:nvPr userDrawn="1"/>
        </p:nvSpPr>
        <p:spPr bwMode="auto">
          <a:xfrm>
            <a:off x="2430463" y="1287463"/>
            <a:ext cx="1528762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10000"/>
              </a:lnSpc>
              <a:defRPr/>
            </a:pPr>
            <a:r>
              <a:rPr lang="ru-RU" altLang="ru-RU" sz="2000" b="1">
                <a:solidFill>
                  <a:srgbClr val="CC0000"/>
                </a:solidFill>
                <a:latin typeface="Proxima Nova Rg" panose="02000506030000020004" pitchFamily="2" charset="0"/>
              </a:rPr>
              <a:t>Фирма «1С»</a:t>
            </a:r>
          </a:p>
        </p:txBody>
      </p:sp>
      <p:pic>
        <p:nvPicPr>
          <p:cNvPr id="2052" name="Picture 11" descr="logo-1C_sharik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1300" y="1287463"/>
            <a:ext cx="612775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53" name="Group 15"/>
          <p:cNvGrpSpPr>
            <a:grpSpLocks/>
          </p:cNvGrpSpPr>
          <p:nvPr userDrawn="1"/>
        </p:nvGrpSpPr>
        <p:grpSpPr bwMode="auto">
          <a:xfrm>
            <a:off x="2411413" y="5722938"/>
            <a:ext cx="1438275" cy="82550"/>
            <a:chOff x="1519" y="3204"/>
            <a:chExt cx="906" cy="52"/>
          </a:xfrm>
        </p:grpSpPr>
        <p:sp>
          <p:nvSpPr>
            <p:cNvPr id="2054" name="Line 13"/>
            <p:cNvSpPr>
              <a:spLocks noChangeShapeType="1"/>
            </p:cNvSpPr>
            <p:nvPr userDrawn="1"/>
          </p:nvSpPr>
          <p:spPr bwMode="auto">
            <a:xfrm>
              <a:off x="1519" y="3204"/>
              <a:ext cx="906" cy="0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/>
            <a:p>
              <a:endParaRPr lang="ru-RU"/>
            </a:p>
          </p:txBody>
        </p:sp>
        <p:sp>
          <p:nvSpPr>
            <p:cNvPr id="2055" name="Line 14"/>
            <p:cNvSpPr>
              <a:spLocks noChangeShapeType="1"/>
            </p:cNvSpPr>
            <p:nvPr userDrawn="1"/>
          </p:nvSpPr>
          <p:spPr bwMode="auto">
            <a:xfrm>
              <a:off x="1519" y="3256"/>
              <a:ext cx="906" cy="0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/>
            <a:p>
              <a:endParaRPr lang="ru-RU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23" r:id="rId1"/>
    <p:sldLayoutId id="2147485724" r:id="rId2"/>
    <p:sldLayoutId id="2147485725" r:id="rId3"/>
    <p:sldLayoutId id="2147485726" r:id="rId4"/>
    <p:sldLayoutId id="2147485727" r:id="rId5"/>
    <p:sldLayoutId id="2147485728" r:id="rId6"/>
    <p:sldLayoutId id="2147485729" r:id="rId7"/>
    <p:sldLayoutId id="2147485730" r:id="rId8"/>
    <p:sldLayoutId id="2147485731" r:id="rId9"/>
    <p:sldLayoutId id="2147485732" r:id="rId10"/>
    <p:sldLayoutId id="2147485733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rgbClr val="CC0000"/>
          </a:solidFill>
          <a:latin typeface="Proxima Nova Rg" panose="02000506030000020004" pitchFamily="2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CC0000"/>
          </a:solidFill>
          <a:latin typeface="Proxima Nova Rg" panose="02000506030000020004" pitchFamily="2" charset="0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CC0000"/>
          </a:solidFill>
          <a:latin typeface="Proxima Nova Rg" panose="02000506030000020004" pitchFamily="2" charset="0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CC0000"/>
          </a:solidFill>
          <a:latin typeface="Proxima Nova Rg" panose="02000506030000020004" pitchFamily="2" charset="0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CC0000"/>
          </a:solidFill>
          <a:latin typeface="Proxima Nova Rg" panose="02000506030000020004" pitchFamily="2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Futura PT" pitchFamily="34" charset="-52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Futura PT" pitchFamily="34" charset="-52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Futura PT" pitchFamily="34" charset="-52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Futura PT" pitchFamily="34" charset="-52"/>
          <a:cs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5" y="152400"/>
            <a:ext cx="4824413" cy="1081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3075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3"/>
            <a:ext cx="8928100" cy="523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34163"/>
            <a:ext cx="81724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spcBef>
                <a:spcPct val="0"/>
              </a:spcBef>
              <a:defRPr sz="1400">
                <a:solidFill>
                  <a:srgbClr val="5B0917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88" y="6599238"/>
            <a:ext cx="766762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 smtClean="0">
                <a:solidFill>
                  <a:srgbClr val="D20000"/>
                </a:solidFill>
              </a:defRPr>
            </a:lvl1pPr>
          </a:lstStyle>
          <a:p>
            <a:pPr>
              <a:defRPr/>
            </a:pPr>
            <a:fld id="{073AEB5E-AB9F-4C1D-8200-2704C583ED9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pic>
        <p:nvPicPr>
          <p:cNvPr id="3078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01" r:id="rId1"/>
    <p:sldLayoutId id="2147485734" r:id="rId2"/>
    <p:sldLayoutId id="2147485735" r:id="rId3"/>
    <p:sldLayoutId id="2147485736" r:id="rId4"/>
    <p:sldLayoutId id="2147485737" r:id="rId5"/>
    <p:sldLayoutId id="2147485738" r:id="rId6"/>
    <p:sldLayoutId id="2147485739" r:id="rId7"/>
    <p:sldLayoutId id="2147485740" r:id="rId8"/>
    <p:sldLayoutId id="2147485741" r:id="rId9"/>
    <p:sldLayoutId id="2147485742" r:id="rId10"/>
    <p:sldLayoutId id="2147485743" r:id="rId11"/>
    <p:sldLayoutId id="2147485744" r:id="rId12"/>
    <p:sldLayoutId id="2147485745" r:id="rId13"/>
  </p:sldLayoutIdLst>
  <p:transition/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anose="05000000000000000000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anose="05000000000000000000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anose="05000000000000000000" pitchFamily="2" charset="2"/>
        <a:buChar char="§"/>
        <a:defRPr>
          <a:solidFill>
            <a:srgbClr val="5B0917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anose="02020603050405020304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panose="020B0604020202020204" pitchFamily="34" charset="0"/>
        <a:buChar char="∙"/>
        <a:defRPr sz="1400">
          <a:solidFill>
            <a:srgbClr val="5B0917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>
            <a:extLst/>
          </p:cNvPr>
          <p:cNvSpPr>
            <a:spLocks noChangeArrowheads="1"/>
          </p:cNvSpPr>
          <p:nvPr userDrawn="1"/>
        </p:nvSpPr>
        <p:spPr bwMode="auto">
          <a:xfrm>
            <a:off x="0" y="3735388"/>
            <a:ext cx="182563" cy="37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117475"/>
            <a:ext cx="5767388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88420" name="Text Box 4">
            <a:extLst/>
          </p:cNvPr>
          <p:cNvSpPr txBox="1">
            <a:spLocks noChangeArrowheads="1"/>
          </p:cNvSpPr>
          <p:nvPr userDrawn="1"/>
        </p:nvSpPr>
        <p:spPr bwMode="auto">
          <a:xfrm>
            <a:off x="8172450" y="6310313"/>
            <a:ext cx="688975" cy="360362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  <a:defRPr/>
            </a:pPr>
            <a:fld id="{95095ADA-6DCF-448E-AD17-3E6D675E1A24}" type="slidenum">
              <a:rPr lang="ru-RU" altLang="ru-RU" sz="1600" b="1" smtClean="0">
                <a:solidFill>
                  <a:srgbClr val="000000"/>
                </a:solidFill>
              </a:rPr>
              <a:pPr algn="r">
                <a:lnSpc>
                  <a:spcPct val="110000"/>
                </a:lnSpc>
                <a:spcBef>
                  <a:spcPct val="50000"/>
                </a:spcBef>
                <a:defRPr/>
              </a:pPr>
              <a:t>‹#›</a:t>
            </a:fld>
            <a:endParaRPr lang="ru-RU" altLang="ru-RU" sz="1600" b="1" smtClean="0">
              <a:solidFill>
                <a:srgbClr val="000000"/>
              </a:solidFill>
            </a:endParaRPr>
          </a:p>
        </p:txBody>
      </p:sp>
      <p:sp>
        <p:nvSpPr>
          <p:cNvPr id="1031" name="Rectangle 36">
            <a:extLst/>
          </p:cNvPr>
          <p:cNvSpPr>
            <a:spLocks noChangeArrowheads="1"/>
          </p:cNvSpPr>
          <p:nvPr userDrawn="1"/>
        </p:nvSpPr>
        <p:spPr bwMode="auto">
          <a:xfrm>
            <a:off x="0" y="3733800"/>
            <a:ext cx="182563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graphicFrame>
        <p:nvGraphicFramePr>
          <p:cNvPr id="4102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3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5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103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4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5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4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15888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02" r:id="rId1"/>
    <p:sldLayoutId id="2147485746" r:id="rId2"/>
    <p:sldLayoutId id="2147485747" r:id="rId3"/>
    <p:sldLayoutId id="2147485748" r:id="rId4"/>
    <p:sldLayoutId id="2147485749" r:id="rId5"/>
    <p:sldLayoutId id="2147485750" r:id="rId6"/>
    <p:sldLayoutId id="2147485751" r:id="rId7"/>
    <p:sldLayoutId id="2147485752" r:id="rId8"/>
    <p:sldLayoutId id="2147485753" r:id="rId9"/>
    <p:sldLayoutId id="2147485754" r:id="rId10"/>
    <p:sldLayoutId id="2147485755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>
            <a:extLst/>
          </p:cNvPr>
          <p:cNvSpPr>
            <a:spLocks noChangeArrowheads="1"/>
          </p:cNvSpPr>
          <p:nvPr userDrawn="1"/>
        </p:nvSpPr>
        <p:spPr bwMode="auto">
          <a:xfrm>
            <a:off x="0" y="3735388"/>
            <a:ext cx="182563" cy="37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117475"/>
            <a:ext cx="5767388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88420" name="Text Box 4">
            <a:extLst/>
          </p:cNvPr>
          <p:cNvSpPr txBox="1">
            <a:spLocks noChangeArrowheads="1"/>
          </p:cNvSpPr>
          <p:nvPr userDrawn="1"/>
        </p:nvSpPr>
        <p:spPr bwMode="auto">
          <a:xfrm>
            <a:off x="8172450" y="6310313"/>
            <a:ext cx="688975" cy="360362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  <a:defRPr/>
            </a:pPr>
            <a:fld id="{A92C5A3B-D090-4644-A671-A3E03FB3FAA0}" type="slidenum">
              <a:rPr lang="ru-RU" altLang="ru-RU" sz="1600" b="1" smtClean="0">
                <a:solidFill>
                  <a:srgbClr val="000000"/>
                </a:solidFill>
              </a:rPr>
              <a:pPr algn="r">
                <a:lnSpc>
                  <a:spcPct val="110000"/>
                </a:lnSpc>
                <a:spcBef>
                  <a:spcPct val="50000"/>
                </a:spcBef>
                <a:defRPr/>
              </a:pPr>
              <a:t>‹#›</a:t>
            </a:fld>
            <a:endParaRPr lang="ru-RU" altLang="ru-RU" sz="1600" b="1" smtClean="0">
              <a:solidFill>
                <a:srgbClr val="000000"/>
              </a:solidFill>
            </a:endParaRPr>
          </a:p>
        </p:txBody>
      </p:sp>
      <p:sp>
        <p:nvSpPr>
          <p:cNvPr id="1031" name="Rectangle 36">
            <a:extLst/>
          </p:cNvPr>
          <p:cNvSpPr>
            <a:spLocks noChangeArrowheads="1"/>
          </p:cNvSpPr>
          <p:nvPr userDrawn="1"/>
        </p:nvSpPr>
        <p:spPr bwMode="auto">
          <a:xfrm>
            <a:off x="0" y="3733800"/>
            <a:ext cx="182563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graphicFrame>
        <p:nvGraphicFramePr>
          <p:cNvPr id="5126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47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5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27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48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5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8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15888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03" r:id="rId1"/>
    <p:sldLayoutId id="2147485756" r:id="rId2"/>
    <p:sldLayoutId id="2147485757" r:id="rId3"/>
    <p:sldLayoutId id="2147485758" r:id="rId4"/>
    <p:sldLayoutId id="2147485759" r:id="rId5"/>
    <p:sldLayoutId id="2147485760" r:id="rId6"/>
    <p:sldLayoutId id="2147485761" r:id="rId7"/>
    <p:sldLayoutId id="2147485762" r:id="rId8"/>
    <p:sldLayoutId id="2147485763" r:id="rId9"/>
    <p:sldLayoutId id="2147485764" r:id="rId10"/>
    <p:sldLayoutId id="2147485765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5" y="152400"/>
            <a:ext cx="4824413" cy="1081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6147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3"/>
            <a:ext cx="8928100" cy="523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34163"/>
            <a:ext cx="81724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spcBef>
                <a:spcPct val="0"/>
              </a:spcBef>
              <a:defRPr sz="1400">
                <a:solidFill>
                  <a:srgbClr val="5B0917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88" y="6599238"/>
            <a:ext cx="766762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 smtClean="0">
                <a:solidFill>
                  <a:srgbClr val="D20000"/>
                </a:solidFill>
              </a:defRPr>
            </a:lvl1pPr>
          </a:lstStyle>
          <a:p>
            <a:pPr>
              <a:defRPr/>
            </a:pPr>
            <a:fld id="{D66D8E31-AA82-4A59-BEC0-D1AAB5C5CC5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pic>
        <p:nvPicPr>
          <p:cNvPr id="6150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04" r:id="rId1"/>
    <p:sldLayoutId id="2147485766" r:id="rId2"/>
    <p:sldLayoutId id="2147485767" r:id="rId3"/>
    <p:sldLayoutId id="2147485768" r:id="rId4"/>
    <p:sldLayoutId id="2147485769" r:id="rId5"/>
    <p:sldLayoutId id="2147485770" r:id="rId6"/>
    <p:sldLayoutId id="2147485771" r:id="rId7"/>
    <p:sldLayoutId id="2147485772" r:id="rId8"/>
    <p:sldLayoutId id="2147485773" r:id="rId9"/>
    <p:sldLayoutId id="2147485774" r:id="rId10"/>
    <p:sldLayoutId id="2147485775" r:id="rId11"/>
    <p:sldLayoutId id="2147485776" r:id="rId12"/>
    <p:sldLayoutId id="2147485777" r:id="rId13"/>
  </p:sldLayoutIdLst>
  <p:transition/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anose="05000000000000000000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anose="05000000000000000000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anose="05000000000000000000" pitchFamily="2" charset="2"/>
        <a:buChar char="§"/>
        <a:defRPr>
          <a:solidFill>
            <a:srgbClr val="5B0917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anose="02020603050405020304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panose="020B0604020202020204" pitchFamily="34" charset="0"/>
        <a:buChar char="∙"/>
        <a:defRPr sz="1400">
          <a:solidFill>
            <a:srgbClr val="5B0917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5" y="152400"/>
            <a:ext cx="4824413" cy="1081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8195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3"/>
            <a:ext cx="8928100" cy="523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34163"/>
            <a:ext cx="81724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spcBef>
                <a:spcPct val="0"/>
              </a:spcBef>
              <a:defRPr sz="1400">
                <a:solidFill>
                  <a:srgbClr val="5B0917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88" y="6599238"/>
            <a:ext cx="766762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 smtClean="0">
                <a:solidFill>
                  <a:srgbClr val="D20000"/>
                </a:solidFill>
              </a:defRPr>
            </a:lvl1pPr>
          </a:lstStyle>
          <a:p>
            <a:pPr>
              <a:defRPr/>
            </a:pPr>
            <a:fld id="{17DE4FAA-EB3A-4F73-80AF-330B4CCEBFC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pic>
        <p:nvPicPr>
          <p:cNvPr id="8198" name="Picture 16" descr="Layer 2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16" r:id="rId1"/>
    <p:sldLayoutId id="2147485778" r:id="rId2"/>
    <p:sldLayoutId id="2147485779" r:id="rId3"/>
    <p:sldLayoutId id="2147485780" r:id="rId4"/>
    <p:sldLayoutId id="2147485781" r:id="rId5"/>
    <p:sldLayoutId id="2147485782" r:id="rId6"/>
    <p:sldLayoutId id="2147485783" r:id="rId7"/>
    <p:sldLayoutId id="2147485784" r:id="rId8"/>
    <p:sldLayoutId id="2147485785" r:id="rId9"/>
    <p:sldLayoutId id="2147485786" r:id="rId10"/>
    <p:sldLayoutId id="2147485787" r:id="rId11"/>
    <p:sldLayoutId id="2147485788" r:id="rId12"/>
    <p:sldLayoutId id="2147485789" r:id="rId13"/>
    <p:sldLayoutId id="2147485817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anose="05000000000000000000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anose="05000000000000000000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anose="05000000000000000000" pitchFamily="2" charset="2"/>
        <a:buChar char="§"/>
        <a:defRPr>
          <a:solidFill>
            <a:srgbClr val="5B0917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anose="02020603050405020304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panose="020B0604020202020204" pitchFamily="34" charset="0"/>
        <a:buChar char="∙"/>
        <a:defRPr sz="1400">
          <a:solidFill>
            <a:srgbClr val="5B0917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>
            <a:extLst/>
          </p:cNvPr>
          <p:cNvSpPr>
            <a:spLocks noChangeArrowheads="1"/>
          </p:cNvSpPr>
          <p:nvPr userDrawn="1"/>
        </p:nvSpPr>
        <p:spPr bwMode="auto">
          <a:xfrm>
            <a:off x="0" y="3735388"/>
            <a:ext cx="182563" cy="37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921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117475"/>
            <a:ext cx="5767388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88420" name="Text Box 4">
            <a:extLst/>
          </p:cNvPr>
          <p:cNvSpPr txBox="1">
            <a:spLocks noChangeArrowheads="1"/>
          </p:cNvSpPr>
          <p:nvPr userDrawn="1"/>
        </p:nvSpPr>
        <p:spPr bwMode="auto">
          <a:xfrm>
            <a:off x="8172450" y="6310313"/>
            <a:ext cx="688975" cy="360362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  <a:defRPr/>
            </a:pPr>
            <a:fld id="{DF0C4FFA-D6C0-49AB-8DC6-D2D1FB9F719A}" type="slidenum">
              <a:rPr lang="ru-RU" altLang="ru-RU" sz="1600" b="1" smtClean="0">
                <a:solidFill>
                  <a:srgbClr val="000000"/>
                </a:solidFill>
              </a:rPr>
              <a:pPr algn="r">
                <a:lnSpc>
                  <a:spcPct val="110000"/>
                </a:lnSpc>
                <a:spcBef>
                  <a:spcPct val="50000"/>
                </a:spcBef>
                <a:defRPr/>
              </a:pPr>
              <a:t>‹#›</a:t>
            </a:fld>
            <a:endParaRPr lang="ru-RU" altLang="ru-RU" sz="1600" b="1" smtClean="0">
              <a:solidFill>
                <a:srgbClr val="000000"/>
              </a:solidFill>
            </a:endParaRPr>
          </a:p>
        </p:txBody>
      </p:sp>
      <p:sp>
        <p:nvSpPr>
          <p:cNvPr id="1031" name="Rectangle 36">
            <a:extLst/>
          </p:cNvPr>
          <p:cNvSpPr>
            <a:spLocks noChangeArrowheads="1"/>
          </p:cNvSpPr>
          <p:nvPr userDrawn="1"/>
        </p:nvSpPr>
        <p:spPr bwMode="auto">
          <a:xfrm>
            <a:off x="0" y="3733800"/>
            <a:ext cx="182563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graphicFrame>
        <p:nvGraphicFramePr>
          <p:cNvPr id="9222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71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5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223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72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5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224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15888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18" r:id="rId1"/>
    <p:sldLayoutId id="2147485790" r:id="rId2"/>
    <p:sldLayoutId id="2147485791" r:id="rId3"/>
    <p:sldLayoutId id="2147485792" r:id="rId4"/>
    <p:sldLayoutId id="2147485793" r:id="rId5"/>
    <p:sldLayoutId id="2147485794" r:id="rId6"/>
    <p:sldLayoutId id="2147485795" r:id="rId7"/>
    <p:sldLayoutId id="2147485796" r:id="rId8"/>
    <p:sldLayoutId id="2147485797" r:id="rId9"/>
    <p:sldLayoutId id="2147485798" r:id="rId10"/>
    <p:sldLayoutId id="2147485799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>
            <a:extLst/>
          </p:cNvPr>
          <p:cNvSpPr>
            <a:spLocks noChangeArrowheads="1"/>
          </p:cNvSpPr>
          <p:nvPr userDrawn="1"/>
        </p:nvSpPr>
        <p:spPr bwMode="auto">
          <a:xfrm>
            <a:off x="2" y="3735389"/>
            <a:ext cx="182563" cy="37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9979" tIns="46789" rIns="89979" bIns="46789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117476"/>
            <a:ext cx="5767388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88420" name="Text Box 4">
            <a:extLst/>
          </p:cNvPr>
          <p:cNvSpPr txBox="1">
            <a:spLocks noChangeArrowheads="1"/>
          </p:cNvSpPr>
          <p:nvPr userDrawn="1"/>
        </p:nvSpPr>
        <p:spPr bwMode="auto">
          <a:xfrm>
            <a:off x="8172452" y="6310314"/>
            <a:ext cx="688975" cy="360362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647A1D-7CAD-4C0D-BF60-D7508C1EC10C}" type="slidenum">
              <a:rPr kumimoji="0" lang="ru-RU" altLang="ru-RU" sz="1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914400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600" b="1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>
            <a:extLst/>
          </p:cNvPr>
          <p:cNvSpPr>
            <a:spLocks noChangeArrowheads="1"/>
          </p:cNvSpPr>
          <p:nvPr userDrawn="1"/>
        </p:nvSpPr>
        <p:spPr bwMode="auto">
          <a:xfrm>
            <a:off x="2" y="3733801"/>
            <a:ext cx="182563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9979" tIns="46789" rIns="89979" bIns="46789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8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030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2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90" y="115888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9911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20" r:id="rId1"/>
    <p:sldLayoutId id="2147485821" r:id="rId2"/>
    <p:sldLayoutId id="2147485822" r:id="rId3"/>
    <p:sldLayoutId id="2147485823" r:id="rId4"/>
    <p:sldLayoutId id="2147485824" r:id="rId5"/>
    <p:sldLayoutId id="2147485825" r:id="rId6"/>
    <p:sldLayoutId id="2147485826" r:id="rId7"/>
    <p:sldLayoutId id="2147485827" r:id="rId8"/>
    <p:sldLayoutId id="2147485828" r:id="rId9"/>
    <p:sldLayoutId id="2147485829" r:id="rId10"/>
    <p:sldLayoutId id="2147485830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5pPr>
      <a:lvl6pPr marL="457109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6pPr>
      <a:lvl7pPr marL="914217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7pPr>
      <a:lvl8pPr marL="1371326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8pPr>
      <a:lvl9pPr marL="1828434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9pPr>
    </p:titleStyle>
    <p:bodyStyle>
      <a:lvl1pPr marL="342831" indent="-342831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01" indent="-285693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1" indent="-228554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4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4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935597" y="2821309"/>
            <a:ext cx="7272807" cy="1112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D2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D20000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D20000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D20000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D20000"/>
                </a:solidFill>
                <a:latin typeface="Arial" charset="0"/>
              </a:defRPr>
            </a:lvl5pPr>
            <a:lvl6pPr marL="4572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2271E"/>
                </a:solidFill>
                <a:latin typeface="Arial" charset="0"/>
              </a:defRPr>
            </a:lvl6pPr>
            <a:lvl7pPr marL="9144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2271E"/>
                </a:solidFill>
                <a:latin typeface="Arial" charset="0"/>
              </a:defRPr>
            </a:lvl7pPr>
            <a:lvl8pPr marL="13716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2271E"/>
                </a:solidFill>
                <a:latin typeface="Arial" charset="0"/>
              </a:defRPr>
            </a:lvl8pPr>
            <a:lvl9pPr marL="18288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2271E"/>
                </a:solidFill>
                <a:latin typeface="Arial" charset="0"/>
              </a:defRPr>
            </a:lvl9pPr>
          </a:lstStyle>
          <a:p>
            <a:pPr lvl="0" algn="ctr">
              <a:lnSpc>
                <a:spcPct val="100000"/>
              </a:lnSpc>
              <a:spcAft>
                <a:spcPts val="600"/>
              </a:spcAft>
              <a:defRPr/>
            </a:pPr>
            <a:r>
              <a:rPr lang="ru-RU" sz="3600" b="0" dirty="0"/>
              <a:t>Бюджетные модели в линейке "Управление холдингом": Лучшие практики и типичные ошибки. </a:t>
            </a:r>
            <a:endParaRPr lang="ru-RU" altLang="ru-RU" sz="3600" kern="0" dirty="0">
              <a:solidFill>
                <a:srgbClr val="FC6E51"/>
              </a:solidFill>
              <a:latin typeface="Proxima Nova Lt"/>
            </a:endParaRPr>
          </a:p>
        </p:txBody>
      </p:sp>
      <p:pic>
        <p:nvPicPr>
          <p:cNvPr id="7" name="Picture 11" descr="Layer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15888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1883790"/>
      </p:ext>
    </p:extLst>
  </p:cSld>
  <p:clrMapOvr>
    <a:masterClrMapping/>
  </p:clrMapOvr>
  <p:transition spd="slow" advTm="15844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/>
              <a:t>Ошибка</a:t>
            </a:r>
            <a:r>
              <a:rPr lang="en-US" dirty="0"/>
              <a:t>: </a:t>
            </a:r>
            <a:r>
              <a:rPr lang="ru-RU" dirty="0"/>
              <a:t>неоправданное использование признака </a:t>
            </a:r>
            <a:r>
              <a:rPr lang="en-US" dirty="0"/>
              <a:t>“</a:t>
            </a:r>
            <a:r>
              <a:rPr lang="ru-RU" dirty="0"/>
              <a:t>Разделение по проектам</a:t>
            </a:r>
            <a:r>
              <a:rPr lang="en-US" dirty="0"/>
              <a:t>”</a:t>
            </a:r>
            <a:r>
              <a:rPr lang="ru-RU" dirty="0"/>
              <a:t> у вида отчета </a:t>
            </a: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629594"/>
            <a:ext cx="8530868" cy="336614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8" name="Picture 6" descr="https://kauneus365.fi/storage/public/v2/membership/check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3717826"/>
            <a:ext cx="2232248" cy="2232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Скругленный прямоугольник 5"/>
          <p:cNvSpPr/>
          <p:nvPr/>
        </p:nvSpPr>
        <p:spPr>
          <a:xfrm>
            <a:off x="4932040" y="3357786"/>
            <a:ext cx="1440160" cy="576064"/>
          </a:xfrm>
          <a:prstGeom prst="roundRect">
            <a:avLst/>
          </a:prstGeom>
          <a:solidFill>
            <a:schemeClr val="bg1">
              <a:alpha val="8000"/>
            </a:scheme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7349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47664" y="165429"/>
            <a:ext cx="7200800" cy="879475"/>
          </a:xfrm>
        </p:spPr>
        <p:txBody>
          <a:bodyPr/>
          <a:lstStyle/>
          <a:p>
            <a:r>
              <a:rPr lang="ru-RU" dirty="0" smtClean="0"/>
              <a:t>Ошибка</a:t>
            </a:r>
            <a:r>
              <a:rPr lang="en-US" dirty="0" smtClean="0"/>
              <a:t>: </a:t>
            </a:r>
            <a:r>
              <a:rPr lang="ru-RU" dirty="0" smtClean="0"/>
              <a:t>неоправданное использование операндов правил обработки вместо вычисляемых выражений бланков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683568" y="1125538"/>
            <a:ext cx="79928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</a:rPr>
              <a:t>Задача</a:t>
            </a:r>
            <a:r>
              <a:rPr lang="en-US" sz="2000" b="1" dirty="0" smtClean="0"/>
              <a:t>: </a:t>
            </a:r>
            <a:r>
              <a:rPr lang="ru-RU" sz="2000" b="1" dirty="0" smtClean="0"/>
              <a:t>имеется бюджет выручки с план - </a:t>
            </a:r>
            <a:r>
              <a:rPr lang="ru-RU" sz="2000" b="1" dirty="0" err="1" smtClean="0"/>
              <a:t>фактным</a:t>
            </a:r>
            <a:r>
              <a:rPr lang="ru-RU" sz="2000" b="1" dirty="0" smtClean="0"/>
              <a:t> отклонением, форма бюджета используется для анализа, значения отклонений в дальнейших расчетах модели не используются</a:t>
            </a:r>
            <a:endParaRPr lang="ru-RU" sz="2000" dirty="0"/>
          </a:p>
        </p:txBody>
      </p:sp>
      <p:pic>
        <p:nvPicPr>
          <p:cNvPr id="348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9" y="2615183"/>
            <a:ext cx="8492431" cy="3406899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1384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1" y="165429"/>
            <a:ext cx="6957393" cy="879475"/>
          </a:xfrm>
        </p:spPr>
        <p:txBody>
          <a:bodyPr/>
          <a:lstStyle/>
          <a:p>
            <a:r>
              <a:rPr lang="ru-RU" dirty="0"/>
              <a:t>Ошибка</a:t>
            </a:r>
            <a:r>
              <a:rPr lang="en-US" dirty="0"/>
              <a:t>: </a:t>
            </a:r>
            <a:r>
              <a:rPr lang="ru-RU" dirty="0"/>
              <a:t>неоправданное использование операндов правил обработки вместо вычисляемых выражений бланков</a:t>
            </a:r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773610"/>
            <a:ext cx="8037513" cy="360040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2" name="Picture 4" descr="https://static.tildacdn.com/tild3534-6233-4935-a538-623562396131/kisspng-x-mark-cross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8939" y="3798221"/>
            <a:ext cx="2481213" cy="2295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ая выноска 2"/>
          <p:cNvSpPr/>
          <p:nvPr/>
        </p:nvSpPr>
        <p:spPr>
          <a:xfrm>
            <a:off x="4572000" y="1197546"/>
            <a:ext cx="3816424" cy="1584176"/>
          </a:xfrm>
          <a:prstGeom prst="wedgeRectCallout">
            <a:avLst>
              <a:gd name="adj1" fmla="val 37208"/>
              <a:gd name="adj2" fmla="val 14678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Делать в конструкторе вида отчета показатели для отклонений и создавать для них формулы в правиле обработке  - не нужно!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266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5767388" cy="879475"/>
          </a:xfrm>
        </p:spPr>
        <p:txBody>
          <a:bodyPr/>
          <a:lstStyle/>
          <a:p>
            <a:r>
              <a:rPr lang="ru-RU" dirty="0" smtClean="0"/>
              <a:t>Формулы правил обработки или вычисляемые выражения бланков</a:t>
            </a:r>
            <a:r>
              <a:rPr lang="en-US" dirty="0" smtClean="0"/>
              <a:t>?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323528" y="1269554"/>
            <a:ext cx="864096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Формулы правил обработки</a:t>
            </a:r>
          </a:p>
          <a:p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Хранятся в правилах обработ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Влияют на пересчет модел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Записывают результат в базу данны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Умеют работать с показателями, регистрами, запросами, внешними ИБ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Поддерживают расшифровку</a:t>
            </a:r>
          </a:p>
          <a:p>
            <a:endParaRPr lang="ru-RU" dirty="0" smtClean="0"/>
          </a:p>
          <a:p>
            <a:endParaRPr lang="ru-RU" dirty="0"/>
          </a:p>
          <a:p>
            <a:r>
              <a:rPr lang="ru-RU" b="1" dirty="0" smtClean="0"/>
              <a:t>Вычисляемые выражения бланков</a:t>
            </a:r>
          </a:p>
          <a:p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Хранятся в многопериодных бланка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Не влияют на пересчет модел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Не сохраняют  данные в баз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Работают только с показателями отчёт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Быстрые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оддерживают </a:t>
            </a:r>
            <a:r>
              <a:rPr lang="ru-RU" dirty="0" smtClean="0"/>
              <a:t>расшифровку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 smtClean="0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9822" y="1197546"/>
            <a:ext cx="1846594" cy="1440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3817243"/>
            <a:ext cx="16764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1242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1" y="165429"/>
            <a:ext cx="6957393" cy="879475"/>
          </a:xfrm>
        </p:spPr>
        <p:txBody>
          <a:bodyPr/>
          <a:lstStyle/>
          <a:p>
            <a:r>
              <a:rPr lang="ru-RU" dirty="0"/>
              <a:t>Ошибка</a:t>
            </a:r>
            <a:r>
              <a:rPr lang="en-US" dirty="0"/>
              <a:t>: </a:t>
            </a:r>
            <a:r>
              <a:rPr lang="ru-RU" dirty="0"/>
              <a:t>неоправданное использование операндов правил обработки вместо вычисляемых выражений бланков</a:t>
            </a: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629594"/>
            <a:ext cx="8517998" cy="4216152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6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2125" y="2349674"/>
            <a:ext cx="5619750" cy="312420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ая выноска 8"/>
          <p:cNvSpPr/>
          <p:nvPr/>
        </p:nvSpPr>
        <p:spPr>
          <a:xfrm>
            <a:off x="4716016" y="837506"/>
            <a:ext cx="3816424" cy="1584176"/>
          </a:xfrm>
          <a:prstGeom prst="wedgeRectCallout">
            <a:avLst>
              <a:gd name="adj1" fmla="val 47795"/>
              <a:gd name="adj2" fmla="val 211213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Правильно </a:t>
            </a:r>
            <a:r>
              <a:rPr lang="en-US" dirty="0" smtClean="0">
                <a:solidFill>
                  <a:schemeClr val="tx1"/>
                </a:solidFill>
              </a:rPr>
              <a:t>: </a:t>
            </a:r>
            <a:r>
              <a:rPr lang="ru-RU" dirty="0" smtClean="0">
                <a:solidFill>
                  <a:schemeClr val="tx1"/>
                </a:solidFill>
              </a:rPr>
              <a:t>сделать расчет отклонений через выражения многопериодного бланка, а колонку факт, через отбор показателей 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8" name="Picture 6" descr="https://kauneus365.fi/storage/public/v2/membership/check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4437906"/>
            <a:ext cx="2232248" cy="2232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68487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8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68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/>
              <a:t>Часть </a:t>
            </a:r>
            <a:r>
              <a:rPr lang="ru-RU" dirty="0" smtClean="0"/>
              <a:t>2. Лучшие практики и полезные советы.</a:t>
            </a:r>
            <a:endParaRPr lang="ru-RU" dirty="0"/>
          </a:p>
        </p:txBody>
      </p:sp>
      <p:pic>
        <p:nvPicPr>
          <p:cNvPr id="37892" name="Picture 4" descr="https://static.my-shop.ru/product/3/394/393406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1341562"/>
            <a:ext cx="3621556" cy="4774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883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Как лучше настроить финансовую структуру предприятия в УХ</a:t>
            </a:r>
            <a:r>
              <a:rPr lang="en-US" dirty="0" smtClean="0"/>
              <a:t>?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683568" y="1413570"/>
            <a:ext cx="7992888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Особенности работы с финансовой структурой компании в  УХ.</a:t>
            </a:r>
            <a:endParaRPr lang="ru-RU" sz="2400" b="1" dirty="0"/>
          </a:p>
          <a:p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В настраиваемой отчетности есть только 1 аналитика - Организация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Нет обязательного разделения по подразделениям, </a:t>
            </a:r>
            <a:r>
              <a:rPr lang="ru-RU" sz="2400" dirty="0" err="1" smtClean="0"/>
              <a:t>цфо</a:t>
            </a:r>
            <a:r>
              <a:rPr lang="ru-RU" sz="2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Предполагается использование сквозной иерархической аналитики </a:t>
            </a:r>
            <a:r>
              <a:rPr lang="ru-RU" sz="2400" b="1" dirty="0" smtClean="0"/>
              <a:t>Организации</a:t>
            </a:r>
            <a:r>
              <a:rPr lang="ru-RU" sz="2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Для анализа данных по одинаковому срезу ЦФО можно использовать реквизит Функциональное направление.</a:t>
            </a:r>
          </a:p>
        </p:txBody>
      </p:sp>
    </p:spTree>
    <p:extLst>
      <p:ext uri="{BB962C8B-B14F-4D97-AF65-F5344CB8AC3E}">
        <p14:creationId xmlns:p14="http://schemas.microsoft.com/office/powerpoint/2010/main" val="1062931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Функциональные направления. Зачем нужны</a:t>
            </a:r>
            <a:r>
              <a:rPr lang="en-US" dirty="0" smtClean="0"/>
              <a:t>?</a:t>
            </a:r>
            <a:endParaRPr lang="ru-RU" dirty="0"/>
          </a:p>
        </p:txBody>
      </p:sp>
      <p:grpSp>
        <p:nvGrpSpPr>
          <p:cNvPr id="4" name="Группа 3"/>
          <p:cNvGrpSpPr/>
          <p:nvPr/>
        </p:nvGrpSpPr>
        <p:grpSpPr>
          <a:xfrm>
            <a:off x="464267" y="1143000"/>
            <a:ext cx="4564933" cy="4786313"/>
            <a:chOff x="685800" y="1371599"/>
            <a:chExt cx="4564933" cy="4786313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800" y="1371599"/>
              <a:ext cx="4564933" cy="4786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Скругленный прямоугольник 5"/>
            <p:cNvSpPr/>
            <p:nvPr/>
          </p:nvSpPr>
          <p:spPr>
            <a:xfrm>
              <a:off x="1981200" y="5715000"/>
              <a:ext cx="3124200" cy="381000"/>
            </a:xfrm>
            <a:prstGeom prst="roundRect">
              <a:avLst/>
            </a:prstGeom>
            <a:solidFill>
              <a:schemeClr val="tx2">
                <a:alpha val="3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4860032" y="1167953"/>
            <a:ext cx="3809749" cy="4710113"/>
            <a:chOff x="5410200" y="1447800"/>
            <a:chExt cx="3809749" cy="4710113"/>
          </a:xfrm>
        </p:grpSpPr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0200" y="1447800"/>
              <a:ext cx="3809749" cy="4710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" name="Скругленный прямоугольник 8"/>
            <p:cNvSpPr/>
            <p:nvPr/>
          </p:nvSpPr>
          <p:spPr>
            <a:xfrm>
              <a:off x="6172200" y="4038600"/>
              <a:ext cx="2895600" cy="381000"/>
            </a:xfrm>
            <a:prstGeom prst="roundRect">
              <a:avLst/>
            </a:prstGeom>
            <a:solidFill>
              <a:schemeClr val="tx2">
                <a:alpha val="3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ru-RU"/>
            </a:p>
          </p:txBody>
        </p:sp>
      </p:grpSp>
      <p:sp>
        <p:nvSpPr>
          <p:cNvPr id="10" name="Овальная выноска 9"/>
          <p:cNvSpPr/>
          <p:nvPr/>
        </p:nvSpPr>
        <p:spPr bwMode="auto">
          <a:xfrm>
            <a:off x="2579779" y="765498"/>
            <a:ext cx="3432381" cy="3672408"/>
          </a:xfrm>
          <a:prstGeom prst="wedgeEllipseCallout">
            <a:avLst>
              <a:gd name="adj1" fmla="val 2262"/>
              <a:gd name="adj2" fmla="val 62061"/>
            </a:avLst>
          </a:prstGeom>
          <a:solidFill>
            <a:srgbClr val="F9E383">
              <a:alpha val="84000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dirty="0" smtClean="0"/>
              <a:t>Функциональные направления</a:t>
            </a:r>
            <a:r>
              <a:rPr lang="en-US" sz="1600" dirty="0" smtClean="0"/>
              <a:t>:</a:t>
            </a:r>
            <a:r>
              <a:rPr lang="ru-RU" sz="1600" dirty="0" smtClean="0"/>
              <a:t> 1.Группируют однотипные ЦФО для анализа</a:t>
            </a:r>
          </a:p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dirty="0" smtClean="0"/>
              <a:t>2. Являются универсальным фильтром для связи ЦФО – Статьи бюджетов. 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943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Приемы работы с многопериодными бланками</a:t>
            </a:r>
            <a:r>
              <a:rPr lang="en-US" dirty="0" smtClean="0"/>
              <a:t>:</a:t>
            </a:r>
            <a:r>
              <a:rPr lang="ru-RU" dirty="0" smtClean="0"/>
              <a:t>основные возможности. 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683568" y="1269554"/>
            <a:ext cx="7992888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Многопериодный бланк.</a:t>
            </a:r>
            <a:endParaRPr lang="ru-RU" sz="2400" b="1" dirty="0"/>
          </a:p>
          <a:p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Позволяет выводить любую аналитику показателей в строках и колонках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Позволяет выводить показатели любых срезов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Позволяет </a:t>
            </a:r>
            <a:r>
              <a:rPr lang="ru-RU" sz="2400" dirty="0" err="1" smtClean="0"/>
              <a:t>преднастраивать</a:t>
            </a:r>
            <a:r>
              <a:rPr lang="ru-RU" sz="2400" dirty="0" smtClean="0"/>
              <a:t> фиксированные списки аналитик.</a:t>
            </a:r>
            <a:endParaRPr lang="ru-RU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Позволяет выводить бланки – книжки с закладк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Позволяет гибко настраивать работу с периодом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Позволяет импортировать данные из </a:t>
            </a:r>
            <a:r>
              <a:rPr lang="en-US" sz="2400" dirty="0" smtClean="0"/>
              <a:t>Excel </a:t>
            </a:r>
            <a:r>
              <a:rPr lang="ru-RU" sz="2400" dirty="0" smtClean="0"/>
              <a:t>в разрезе аналитик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2400" dirty="0" smtClean="0"/>
          </a:p>
        </p:txBody>
      </p:sp>
    </p:spTree>
    <p:extLst>
      <p:ext uri="{BB962C8B-B14F-4D97-AF65-F5344CB8AC3E}">
        <p14:creationId xmlns:p14="http://schemas.microsoft.com/office/powerpoint/2010/main" val="1164335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Приемы работы с многопериодными бланками</a:t>
            </a:r>
            <a:r>
              <a:rPr lang="en-US" dirty="0" smtClean="0"/>
              <a:t>:</a:t>
            </a:r>
            <a:r>
              <a:rPr lang="ru-RU" dirty="0" smtClean="0"/>
              <a:t> вывод нестандартных итогов по периоду</a:t>
            </a:r>
            <a:endParaRPr lang="ru-RU" dirty="0"/>
          </a:p>
        </p:txBody>
      </p:sp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917625"/>
            <a:ext cx="8254546" cy="3960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83568" y="1053530"/>
            <a:ext cx="79928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</a:rPr>
              <a:t>Задача</a:t>
            </a:r>
            <a:r>
              <a:rPr lang="en-US" sz="2000" b="1" dirty="0" smtClean="0"/>
              <a:t>:</a:t>
            </a:r>
            <a:r>
              <a:rPr lang="ru-RU" sz="2000" b="1" dirty="0" smtClean="0"/>
              <a:t> создать форму бюджет за 3 года с промежуточными итогами по годам и общим итогом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19770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Часть 1. Типичные ошибки разработки моделей</a:t>
            </a:r>
            <a:endParaRPr lang="ru-RU" dirty="0"/>
          </a:p>
        </p:txBody>
      </p:sp>
      <p:pic>
        <p:nvPicPr>
          <p:cNvPr id="296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3962" y="1055365"/>
            <a:ext cx="5086350" cy="503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1539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Приемы работы с многопериодными бланками</a:t>
            </a:r>
            <a:r>
              <a:rPr lang="en-US" dirty="0" smtClean="0"/>
              <a:t>:</a:t>
            </a:r>
            <a:r>
              <a:rPr lang="ru-RU" dirty="0" smtClean="0"/>
              <a:t> вывод нестандартных итогов по периоду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683568" y="1053530"/>
            <a:ext cx="79928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</a:rPr>
              <a:t>Решение</a:t>
            </a:r>
            <a:r>
              <a:rPr lang="en-US" sz="2000" b="1" dirty="0" smtClean="0"/>
              <a:t>:</a:t>
            </a:r>
            <a:r>
              <a:rPr lang="ru-RU" sz="2000" b="1" dirty="0"/>
              <a:t> </a:t>
            </a:r>
            <a:r>
              <a:rPr lang="ru-RU" sz="2000" b="1" dirty="0" smtClean="0"/>
              <a:t>создаем форму многопериодного бланка и разбиваем ее на сегменты по периодам и итогам</a:t>
            </a:r>
            <a:r>
              <a:rPr lang="en-US" sz="2000" b="1" dirty="0" smtClean="0"/>
              <a:t>:</a:t>
            </a:r>
            <a:endParaRPr lang="ru-RU" sz="2000" dirty="0"/>
          </a:p>
        </p:txBody>
      </p:sp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691" y="1845618"/>
            <a:ext cx="8073765" cy="4764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ая выноска 7"/>
          <p:cNvSpPr/>
          <p:nvPr/>
        </p:nvSpPr>
        <p:spPr>
          <a:xfrm>
            <a:off x="467544" y="2637706"/>
            <a:ext cx="4032448" cy="1584176"/>
          </a:xfrm>
          <a:prstGeom prst="wedgeRectCallout">
            <a:avLst>
              <a:gd name="adj1" fmla="val 53818"/>
              <a:gd name="adj2" fmla="val -4450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Для каждого сегмента- раскрытия ставим отбор  в свойствах  раскрытия относительно но периода экземпляра отчета</a:t>
            </a:r>
            <a:endParaRPr lang="ru-RU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720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Приемы работы с многопериодными бланками</a:t>
            </a:r>
            <a:r>
              <a:rPr lang="en-US" dirty="0" smtClean="0"/>
              <a:t>:</a:t>
            </a:r>
            <a:r>
              <a:rPr lang="ru-RU" dirty="0" smtClean="0"/>
              <a:t> вывод нестандартных итогов по периоду</a:t>
            </a:r>
            <a:endParaRPr lang="ru-RU" dirty="0"/>
          </a:p>
        </p:txBody>
      </p:sp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918" y="1485578"/>
            <a:ext cx="8254546" cy="3960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ая выноска 7"/>
          <p:cNvSpPr/>
          <p:nvPr/>
        </p:nvSpPr>
        <p:spPr>
          <a:xfrm>
            <a:off x="467544" y="2637706"/>
            <a:ext cx="4032448" cy="1584176"/>
          </a:xfrm>
          <a:prstGeom prst="wedgeRectCallout">
            <a:avLst>
              <a:gd name="adj1" fmla="val 69638"/>
              <a:gd name="adj2" fmla="val 38721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Для каждого сегмента- итога ставим отбор  в свойствах  показателей относительно  периода экземпляра отчета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499992" y="1701602"/>
            <a:ext cx="360040" cy="360040"/>
          </a:xfrm>
          <a:prstGeom prst="roundRect">
            <a:avLst/>
          </a:prstGeom>
          <a:solidFill>
            <a:schemeClr val="bg1">
              <a:alpha val="8000"/>
            </a:scheme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0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Приемы работы с многопериодными бланками</a:t>
            </a:r>
            <a:r>
              <a:rPr lang="en-US" dirty="0" smtClean="0"/>
              <a:t>:</a:t>
            </a:r>
            <a:r>
              <a:rPr lang="ru-RU" dirty="0" smtClean="0"/>
              <a:t> вывод нестандартных итогов по периоду</a:t>
            </a:r>
            <a:endParaRPr lang="ru-RU" dirty="0"/>
          </a:p>
        </p:txBody>
      </p:sp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918" y="1989633"/>
            <a:ext cx="8254546" cy="3960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Скругленный прямоугольник 8"/>
          <p:cNvSpPr/>
          <p:nvPr/>
        </p:nvSpPr>
        <p:spPr>
          <a:xfrm>
            <a:off x="2627784" y="2205658"/>
            <a:ext cx="360040" cy="360040"/>
          </a:xfrm>
          <a:prstGeom prst="roundRect">
            <a:avLst/>
          </a:prstGeom>
          <a:solidFill>
            <a:schemeClr val="bg1">
              <a:alpha val="8000"/>
            </a:scheme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683568" y="1053530"/>
            <a:ext cx="79928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</a:rPr>
              <a:t>Полезный совет</a:t>
            </a:r>
            <a:r>
              <a:rPr lang="en-US" sz="2000" b="1" dirty="0" smtClean="0"/>
              <a:t>:</a:t>
            </a:r>
            <a:r>
              <a:rPr lang="ru-RU" sz="2000" b="1" dirty="0" smtClean="0"/>
              <a:t> любой многопериодный бланк можно использовать как отчет, без создания экземпляра отчета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192509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Приемы работы с многопериодными бланками</a:t>
            </a:r>
            <a:r>
              <a:rPr lang="en-US" dirty="0" smtClean="0"/>
              <a:t>:</a:t>
            </a:r>
            <a:r>
              <a:rPr lang="ru-RU" dirty="0" smtClean="0"/>
              <a:t> бланк за произвольный период.</a:t>
            </a:r>
            <a:endParaRPr lang="ru-RU" dirty="0"/>
          </a:p>
        </p:txBody>
      </p:sp>
      <p:pic>
        <p:nvPicPr>
          <p:cNvPr id="4505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701602"/>
            <a:ext cx="8532440" cy="3744416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138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Приемы работы с многопериодными бланками</a:t>
            </a:r>
            <a:r>
              <a:rPr lang="en-US" dirty="0" smtClean="0"/>
              <a:t>: </a:t>
            </a:r>
            <a:r>
              <a:rPr lang="ru-RU" dirty="0" smtClean="0"/>
              <a:t>создание сложной шкалы времени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51520" y="2049612"/>
            <a:ext cx="8497888" cy="210026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</p:pic>
      <p:sp>
        <p:nvSpPr>
          <p:cNvPr id="5" name="Скругленный прямоугольник 4"/>
          <p:cNvSpPr/>
          <p:nvPr/>
        </p:nvSpPr>
        <p:spPr bwMode="auto">
          <a:xfrm>
            <a:off x="1546870" y="4502720"/>
            <a:ext cx="6913562" cy="130333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dirty="0"/>
              <a:t>В колонках-месяцах отображается оборот за месяц.</a:t>
            </a:r>
            <a:br>
              <a:rPr lang="ru-RU" dirty="0"/>
            </a:br>
            <a:r>
              <a:rPr lang="ru-RU" dirty="0"/>
              <a:t>В колонках-промежуточных итогах отображается оборот с начала года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11560" y="1053530"/>
            <a:ext cx="79928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</a:rPr>
              <a:t>Задача</a:t>
            </a:r>
            <a:r>
              <a:rPr lang="en-US" sz="2000" b="1" dirty="0" smtClean="0"/>
              <a:t>:</a:t>
            </a:r>
            <a:r>
              <a:rPr lang="ru-RU" sz="2000" b="1" dirty="0" smtClean="0"/>
              <a:t> создать форму бюджета на год с промежуточными итогами по годам нарастающим итогом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383195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Приемы работы с многопериодными бланками</a:t>
            </a:r>
            <a:r>
              <a:rPr lang="en-US" dirty="0" smtClean="0"/>
              <a:t>: </a:t>
            </a:r>
            <a:r>
              <a:rPr lang="ru-RU" dirty="0"/>
              <a:t>нарастающий итог в бланке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5576" y="1194817"/>
            <a:ext cx="7416824" cy="44672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</p:pic>
      <p:sp>
        <p:nvSpPr>
          <p:cNvPr id="7" name="Скругленный прямоугольник 6"/>
          <p:cNvSpPr/>
          <p:nvPr/>
        </p:nvSpPr>
        <p:spPr bwMode="auto">
          <a:xfrm>
            <a:off x="323528" y="3141762"/>
            <a:ext cx="2664296" cy="179089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ru-RU" altLang="ru-RU" sz="1400" dirty="0"/>
              <a:t>Раскрытие по аналитике «Периоды» не применяем. </a:t>
            </a:r>
            <a:br>
              <a:rPr lang="ru-RU" altLang="ru-RU" sz="1400" dirty="0"/>
            </a:br>
            <a:r>
              <a:rPr lang="ru-RU" altLang="ru-RU" sz="1400" dirty="0"/>
              <a:t>Для каждого периода в бланке настраиваем отдельную колонку</a:t>
            </a:r>
          </a:p>
        </p:txBody>
      </p:sp>
      <p:sp>
        <p:nvSpPr>
          <p:cNvPr id="8" name="Скругленный прямоугольник 7"/>
          <p:cNvSpPr/>
          <p:nvPr/>
        </p:nvSpPr>
        <p:spPr bwMode="auto">
          <a:xfrm>
            <a:off x="1367631" y="5229473"/>
            <a:ext cx="6408738" cy="9366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ru-RU" altLang="ru-RU" sz="1600"/>
              <a:t>Для ячеек каждого месяца устанавливаем отбор </a:t>
            </a:r>
            <a:br>
              <a:rPr lang="ru-RU" altLang="ru-RU" sz="1600"/>
            </a:br>
            <a:r>
              <a:rPr lang="ru-RU" altLang="ru-RU" sz="1600"/>
              <a:t>по периоду начала и окончания со сдвигом</a:t>
            </a:r>
          </a:p>
        </p:txBody>
      </p:sp>
    </p:spTree>
    <p:extLst>
      <p:ext uri="{BB962C8B-B14F-4D97-AF65-F5344CB8AC3E}">
        <p14:creationId xmlns:p14="http://schemas.microsoft.com/office/powerpoint/2010/main" val="3608033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Приемы работы с многопериодными бланками</a:t>
            </a:r>
            <a:r>
              <a:rPr lang="en-US" dirty="0" smtClean="0"/>
              <a:t>: </a:t>
            </a:r>
            <a:r>
              <a:rPr lang="ru-RU" dirty="0"/>
              <a:t>нарастающий итог в бланке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14420" y="1125538"/>
            <a:ext cx="7157980" cy="478065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</p:pic>
      <p:sp>
        <p:nvSpPr>
          <p:cNvPr id="10" name="Скругленный прямоугольник 9"/>
          <p:cNvSpPr/>
          <p:nvPr/>
        </p:nvSpPr>
        <p:spPr bwMode="auto">
          <a:xfrm>
            <a:off x="971500" y="4149874"/>
            <a:ext cx="7200900" cy="93503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ru-RU" altLang="ru-RU" sz="1600"/>
              <a:t>Для ячеек каждого промежуточного итога устанавливаем </a:t>
            </a:r>
            <a:br>
              <a:rPr lang="ru-RU" altLang="ru-RU" sz="1600"/>
            </a:br>
            <a:r>
              <a:rPr lang="ru-RU" altLang="ru-RU" sz="1600"/>
              <a:t>отбор только по периоду окончания</a:t>
            </a:r>
          </a:p>
        </p:txBody>
      </p:sp>
    </p:spTree>
    <p:extLst>
      <p:ext uri="{BB962C8B-B14F-4D97-AF65-F5344CB8AC3E}">
        <p14:creationId xmlns:p14="http://schemas.microsoft.com/office/powerpoint/2010/main" val="2050848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Приемы работы с многопериодными бланками</a:t>
            </a:r>
            <a:r>
              <a:rPr lang="en-US" dirty="0" smtClean="0"/>
              <a:t>:</a:t>
            </a:r>
            <a:r>
              <a:rPr lang="ru-RU" dirty="0" smtClean="0"/>
              <a:t> как можно вывести иерархию аналитик. 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611560" y="1197546"/>
            <a:ext cx="79928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</a:rPr>
              <a:t>Задача</a:t>
            </a:r>
            <a:r>
              <a:rPr lang="en-US" sz="2000" b="1" dirty="0" smtClean="0"/>
              <a:t>:</a:t>
            </a:r>
            <a:r>
              <a:rPr lang="ru-RU" sz="2000" b="1" dirty="0" smtClean="0"/>
              <a:t>вывести в бланке иерархию справочника с итогами.</a:t>
            </a:r>
            <a:endParaRPr lang="ru-RU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611560" y="1877556"/>
            <a:ext cx="79928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</a:rPr>
              <a:t>Проблема</a:t>
            </a:r>
            <a:r>
              <a:rPr lang="en-US" sz="2000" b="1" dirty="0" smtClean="0"/>
              <a:t>: </a:t>
            </a:r>
            <a:r>
              <a:rPr lang="ru-RU" sz="2000" b="1" dirty="0" smtClean="0"/>
              <a:t>иерархический вывод в бланках не поддерживается</a:t>
            </a:r>
            <a:endParaRPr lang="ru-RU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683568" y="2925738"/>
            <a:ext cx="79928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</a:rPr>
              <a:t>Решение</a:t>
            </a:r>
            <a:r>
              <a:rPr lang="en-US" sz="2000" b="1" dirty="0" smtClean="0"/>
              <a:t>:</a:t>
            </a:r>
            <a:r>
              <a:rPr lang="ru-RU" sz="2000" b="1" dirty="0" smtClean="0"/>
              <a:t>Использовать отборы бланка для вывода уровней иерархии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27135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Приемы работы с многопериодными бланками</a:t>
            </a:r>
            <a:r>
              <a:rPr lang="en-US" dirty="0" smtClean="0"/>
              <a:t>:</a:t>
            </a:r>
            <a:r>
              <a:rPr lang="ru-RU" dirty="0" smtClean="0"/>
              <a:t> как можно вывести иерархию аналитик. </a:t>
            </a:r>
            <a:endParaRPr lang="ru-RU" dirty="0"/>
          </a:p>
        </p:txBody>
      </p:sp>
      <p:pic>
        <p:nvPicPr>
          <p:cNvPr id="4915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193558"/>
            <a:ext cx="7416824" cy="5188564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4742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Приемы работы с многопериодными бланками</a:t>
            </a:r>
            <a:r>
              <a:rPr lang="en-US" dirty="0" smtClean="0"/>
              <a:t>:</a:t>
            </a:r>
            <a:r>
              <a:rPr lang="ru-RU" dirty="0" smtClean="0"/>
              <a:t> как можно вывести иерархию аналитик. </a:t>
            </a:r>
            <a:endParaRPr lang="ru-RU" dirty="0"/>
          </a:p>
        </p:txBody>
      </p:sp>
      <p:pic>
        <p:nvPicPr>
          <p:cNvPr id="501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228666"/>
            <a:ext cx="8416230" cy="464940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1097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Ошибка</a:t>
            </a:r>
            <a:r>
              <a:rPr lang="en-US" dirty="0" smtClean="0"/>
              <a:t>: </a:t>
            </a:r>
            <a:r>
              <a:rPr lang="ru-RU" dirty="0" smtClean="0"/>
              <a:t>неоправданное использование аналитик вида отчета 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683568" y="1125538"/>
            <a:ext cx="799288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</a:rPr>
              <a:t>Задача</a:t>
            </a:r>
            <a:r>
              <a:rPr lang="en-US" sz="2000" b="1" dirty="0" smtClean="0"/>
              <a:t>: </a:t>
            </a:r>
            <a:r>
              <a:rPr lang="ru-RU" sz="2000" b="1" dirty="0" smtClean="0"/>
              <a:t>имеется бюджет, все строки которого имеют одинаковый набор аналитик, например</a:t>
            </a:r>
            <a:r>
              <a:rPr lang="en-US" sz="2000" b="1" dirty="0" smtClean="0"/>
              <a:t>, </a:t>
            </a:r>
            <a:r>
              <a:rPr lang="ru-RU" sz="2000" b="1" dirty="0" smtClean="0"/>
              <a:t>бюджет выручки считается в разрезе проектов, контрагентов, номенклатуры</a:t>
            </a:r>
            <a:r>
              <a:rPr lang="en-US" sz="2000" b="1" dirty="0" smtClean="0"/>
              <a:t>:</a:t>
            </a:r>
            <a:endParaRPr lang="ru-RU" sz="2000" dirty="0"/>
          </a:p>
        </p:txBody>
      </p:sp>
      <p:pic>
        <p:nvPicPr>
          <p:cNvPr id="27654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393057"/>
            <a:ext cx="7126651" cy="3340993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9349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Приемы работы с многопериодными бланками</a:t>
            </a:r>
            <a:r>
              <a:rPr lang="en-US" dirty="0" smtClean="0"/>
              <a:t>:</a:t>
            </a:r>
            <a:r>
              <a:rPr lang="ru-RU" dirty="0" smtClean="0"/>
              <a:t> как можно вывести иерархию аналитик. </a:t>
            </a:r>
            <a:endParaRPr lang="ru-RU" dirty="0"/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557586"/>
            <a:ext cx="8044023" cy="4239766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ая выноска 5"/>
          <p:cNvSpPr/>
          <p:nvPr/>
        </p:nvSpPr>
        <p:spPr>
          <a:xfrm>
            <a:off x="539552" y="1125538"/>
            <a:ext cx="4032448" cy="1296144"/>
          </a:xfrm>
          <a:prstGeom prst="wedgeRectCallout">
            <a:avLst>
              <a:gd name="adj1" fmla="val 1083"/>
              <a:gd name="adj2" fmla="val 13201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Разбиваем строки на сегменты иерархии с отборами, для каждого уровня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8" name="Прямоугольная выноска 7"/>
          <p:cNvSpPr/>
          <p:nvPr/>
        </p:nvSpPr>
        <p:spPr>
          <a:xfrm>
            <a:off x="4139952" y="4869954"/>
            <a:ext cx="4032448" cy="1584176"/>
          </a:xfrm>
          <a:prstGeom prst="wedgeRectCallout">
            <a:avLst>
              <a:gd name="adj1" fmla="val 5302"/>
              <a:gd name="adj2" fmla="val -80077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Для каждого сегмента- раскрытия ставим отбор  в свойствах  раскрытия относительно но периода экземпляра отчета</a:t>
            </a:r>
            <a:endParaRPr lang="ru-RU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024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Приемы работы с многопериодными бланками</a:t>
            </a:r>
            <a:r>
              <a:rPr lang="en-US" dirty="0" smtClean="0"/>
              <a:t>:</a:t>
            </a:r>
            <a:r>
              <a:rPr lang="ru-RU" dirty="0" smtClean="0"/>
              <a:t> как можно вывести иерархию аналитик. </a:t>
            </a:r>
            <a:endParaRPr lang="ru-RU" dirty="0"/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9246" y="1989634"/>
            <a:ext cx="6811146" cy="435292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026" y="1197546"/>
            <a:ext cx="7096366" cy="654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9940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Бланк с закладками. 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611560" y="861313"/>
            <a:ext cx="79928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Задача</a:t>
            </a:r>
            <a:r>
              <a:rPr lang="en-US" b="1" dirty="0" smtClean="0"/>
              <a:t>:</a:t>
            </a:r>
            <a:r>
              <a:rPr lang="ru-RU" b="1" dirty="0" smtClean="0"/>
              <a:t>Хочется видеть всю  (или произвольную часть ) ранее сформированную бюджетную модель в одном отчете, с возможностью интерактивной выгрузки всех отчетов в файл (</a:t>
            </a:r>
            <a:r>
              <a:rPr lang="en-US" b="1" dirty="0" smtClean="0"/>
              <a:t>pdf, </a:t>
            </a:r>
            <a:r>
              <a:rPr lang="en-US" b="1" dirty="0" err="1" smtClean="0"/>
              <a:t>xls</a:t>
            </a:r>
            <a:r>
              <a:rPr lang="en-US" b="1" dirty="0" smtClean="0"/>
              <a:t>…</a:t>
            </a:r>
            <a:r>
              <a:rPr lang="ru-RU" b="1" dirty="0" smtClean="0"/>
              <a:t>)</a:t>
            </a:r>
            <a:endParaRPr lang="ru-RU" dirty="0"/>
          </a:p>
        </p:txBody>
      </p:sp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133650"/>
            <a:ext cx="8136904" cy="4104456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4964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Бланк с закладками. </a:t>
            </a:r>
            <a:endParaRPr lang="ru-RU" dirty="0"/>
          </a:p>
        </p:txBody>
      </p:sp>
      <p:pic>
        <p:nvPicPr>
          <p:cNvPr id="471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557586"/>
            <a:ext cx="8496944" cy="4176464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ая выноска 6"/>
          <p:cNvSpPr/>
          <p:nvPr/>
        </p:nvSpPr>
        <p:spPr>
          <a:xfrm>
            <a:off x="2195736" y="2493690"/>
            <a:ext cx="4032448" cy="1584176"/>
          </a:xfrm>
          <a:prstGeom prst="wedgeRectCallout">
            <a:avLst>
              <a:gd name="adj1" fmla="val 73857"/>
              <a:gd name="adj2" fmla="val 82347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Функционал доступен только для многопериодных бланков.</a:t>
            </a:r>
            <a:endParaRPr lang="ru-RU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46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Бланк с закладками. </a:t>
            </a:r>
            <a:endParaRPr lang="ru-RU" dirty="0"/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197546"/>
            <a:ext cx="8136904" cy="4928143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41623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847716" y="2154087"/>
            <a:ext cx="7272807" cy="1112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D2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D20000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D20000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D20000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D20000"/>
                </a:solidFill>
                <a:latin typeface="Arial" charset="0"/>
              </a:defRPr>
            </a:lvl5pPr>
            <a:lvl6pPr marL="4572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2271E"/>
                </a:solidFill>
                <a:latin typeface="Arial" charset="0"/>
              </a:defRPr>
            </a:lvl6pPr>
            <a:lvl7pPr marL="9144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2271E"/>
                </a:solidFill>
                <a:latin typeface="Arial" charset="0"/>
              </a:defRPr>
            </a:lvl7pPr>
            <a:lvl8pPr marL="13716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2271E"/>
                </a:solidFill>
                <a:latin typeface="Arial" charset="0"/>
              </a:defRPr>
            </a:lvl8pPr>
            <a:lvl9pPr marL="18288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E2271E"/>
                </a:solidFill>
                <a:latin typeface="Arial" charset="0"/>
              </a:defRPr>
            </a:lvl9pPr>
          </a:lstStyle>
          <a:p>
            <a:pPr algn="ctr">
              <a:lnSpc>
                <a:spcPct val="100000"/>
              </a:lnSpc>
              <a:spcAft>
                <a:spcPts val="600"/>
              </a:spcAft>
              <a:defRPr/>
            </a:pPr>
            <a:r>
              <a:rPr lang="ru-RU" sz="3600" b="0" dirty="0"/>
              <a:t>Бюджетные модели в линейке "Управление холдингом": Лучшие практики и типичные ошибки. </a:t>
            </a:r>
            <a:endParaRPr lang="ru-RU" altLang="ru-RU" sz="3600" kern="0" dirty="0">
              <a:solidFill>
                <a:srgbClr val="FC6E51"/>
              </a:solidFill>
            </a:endParaRPr>
          </a:p>
        </p:txBody>
      </p:sp>
      <p:pic>
        <p:nvPicPr>
          <p:cNvPr id="7" name="Picture 11" descr="Layer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15888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85946" y="4077866"/>
            <a:ext cx="4596346" cy="70788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lvl="0" indent="0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ru-RU" sz="3000" dirty="0" smtClean="0"/>
              <a:t>Спасибо за внимание!</a:t>
            </a:r>
            <a:endParaRPr lang="ru-RU" sz="3000" dirty="0"/>
          </a:p>
        </p:txBody>
      </p:sp>
    </p:spTree>
    <p:extLst>
      <p:ext uri="{BB962C8B-B14F-4D97-AF65-F5344CB8AC3E}">
        <p14:creationId xmlns:p14="http://schemas.microsoft.com/office/powerpoint/2010/main" val="2080814222"/>
      </p:ext>
    </p:extLst>
  </p:cSld>
  <p:clrMapOvr>
    <a:masterClrMapping/>
  </p:clrMapOvr>
  <p:transition spd="slow" advTm="15844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Ошибка</a:t>
            </a:r>
            <a:r>
              <a:rPr lang="en-US" dirty="0" smtClean="0"/>
              <a:t>: </a:t>
            </a:r>
            <a:r>
              <a:rPr lang="ru-RU" dirty="0" smtClean="0"/>
              <a:t>неоправданное использование аналитик вида отчета </a:t>
            </a:r>
            <a:endParaRPr lang="ru-RU" dirty="0"/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261492"/>
            <a:ext cx="7970837" cy="440055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2" name="Picture 4" descr="https://static.tildacdn.com/tild3534-6233-4935-a538-623562396131/kisspng-x-mark-cross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3006133"/>
            <a:ext cx="2481213" cy="2295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ая выноска 2"/>
          <p:cNvSpPr/>
          <p:nvPr/>
        </p:nvSpPr>
        <p:spPr>
          <a:xfrm>
            <a:off x="5076056" y="981522"/>
            <a:ext cx="3168352" cy="1584176"/>
          </a:xfrm>
          <a:prstGeom prst="wedgeRectCallout">
            <a:avLst>
              <a:gd name="adj1" fmla="val -21520"/>
              <a:gd name="adj2" fmla="val 107852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Очень хочется воспользоваться аналитиками вида отчета, однако это неправильно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427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Ошибка</a:t>
            </a:r>
            <a:r>
              <a:rPr lang="en-US" dirty="0" smtClean="0"/>
              <a:t>: </a:t>
            </a:r>
            <a:r>
              <a:rPr lang="ru-RU" dirty="0" smtClean="0"/>
              <a:t>неоправданное использование аналитик вида отчета 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683568" y="1413570"/>
            <a:ext cx="7992888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Аналитики вида отчета</a:t>
            </a:r>
            <a:r>
              <a:rPr lang="en-US" sz="2400" b="1" dirty="0" smtClean="0"/>
              <a:t>:</a:t>
            </a:r>
            <a:endParaRPr lang="ru-RU" sz="2400" b="1" dirty="0"/>
          </a:p>
          <a:p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Дополняют ключевые аналитики вида отче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Имеют единственное значение для каждого экземпляра отчета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Требуют ввода и утверждения отдельного экземпляра на каждую комбинацию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Имеют ограничения при настройке операнд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Замедляют расчет показателей бюджетной модел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C00000"/>
                </a:solidFill>
              </a:rPr>
              <a:t>Используются для разделения ввода и утверждения видов отчетов по разным ответственным.</a:t>
            </a:r>
            <a:endParaRPr lang="en-US" sz="2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711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 smtClean="0"/>
              <a:t>Правильно -  скопировать одну аналитику на все строки через конструктор!</a:t>
            </a:r>
            <a:endParaRPr lang="ru-RU" dirty="0"/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629594"/>
            <a:ext cx="8530868" cy="336614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8" name="Picture 6" descr="https://kauneus365.fi/storage/public/v2/membership/check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3573810"/>
            <a:ext cx="2232248" cy="2232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Скругленный прямоугольник 7"/>
          <p:cNvSpPr/>
          <p:nvPr/>
        </p:nvSpPr>
        <p:spPr>
          <a:xfrm>
            <a:off x="2339752" y="2565698"/>
            <a:ext cx="432048" cy="288032"/>
          </a:xfrm>
          <a:prstGeom prst="roundRect">
            <a:avLst/>
          </a:prstGeom>
          <a:solidFill>
            <a:schemeClr val="bg1">
              <a:alpha val="8000"/>
            </a:scheme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7600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/>
              <a:t>Ошибка</a:t>
            </a:r>
            <a:r>
              <a:rPr lang="en-US" dirty="0"/>
              <a:t>: </a:t>
            </a:r>
            <a:r>
              <a:rPr lang="ru-RU" dirty="0"/>
              <a:t>неоправданное использование </a:t>
            </a:r>
            <a:r>
              <a:rPr lang="ru-RU" dirty="0" smtClean="0"/>
              <a:t>признака </a:t>
            </a:r>
            <a:r>
              <a:rPr lang="en-US" dirty="0" smtClean="0"/>
              <a:t>“</a:t>
            </a:r>
            <a:r>
              <a:rPr lang="ru-RU" dirty="0" smtClean="0"/>
              <a:t>Разделение по проектам</a:t>
            </a:r>
            <a:r>
              <a:rPr lang="en-US" dirty="0" smtClean="0"/>
              <a:t>”</a:t>
            </a:r>
            <a:r>
              <a:rPr lang="ru-RU" dirty="0" smtClean="0"/>
              <a:t> у вида </a:t>
            </a:r>
            <a:r>
              <a:rPr lang="ru-RU" dirty="0"/>
              <a:t>отчета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3568" y="1262003"/>
            <a:ext cx="799288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</a:rPr>
              <a:t>Задача</a:t>
            </a:r>
            <a:r>
              <a:rPr lang="en-US" sz="2000" b="1" dirty="0" smtClean="0"/>
              <a:t>: </a:t>
            </a:r>
            <a:r>
              <a:rPr lang="ru-RU" sz="2000" b="1" dirty="0" smtClean="0"/>
              <a:t>у бюджетной модели есть аналитика  </a:t>
            </a:r>
            <a:r>
              <a:rPr lang="ru-RU" sz="2000" b="1" dirty="0" smtClean="0">
                <a:solidFill>
                  <a:srgbClr val="C00000"/>
                </a:solidFill>
              </a:rPr>
              <a:t>проекты</a:t>
            </a:r>
            <a:r>
              <a:rPr lang="ru-RU" sz="2000" b="1" dirty="0" smtClean="0"/>
              <a:t> в разрезе которой нужно собирать планы, факт, считать отклонения.</a:t>
            </a:r>
            <a:endParaRPr lang="ru-RU" sz="2000" dirty="0"/>
          </a:p>
        </p:txBody>
      </p:sp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349674"/>
            <a:ext cx="7126651" cy="3340993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7693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/>
              <a:t>Ошибка</a:t>
            </a:r>
            <a:r>
              <a:rPr lang="en-US" dirty="0"/>
              <a:t>: </a:t>
            </a:r>
            <a:r>
              <a:rPr lang="ru-RU" dirty="0"/>
              <a:t>неоправданное использование </a:t>
            </a:r>
            <a:r>
              <a:rPr lang="ru-RU" dirty="0" smtClean="0"/>
              <a:t>признака </a:t>
            </a:r>
            <a:r>
              <a:rPr lang="en-US" dirty="0" smtClean="0"/>
              <a:t>“</a:t>
            </a:r>
            <a:r>
              <a:rPr lang="ru-RU" dirty="0" smtClean="0"/>
              <a:t>Разделение по проектам</a:t>
            </a:r>
            <a:r>
              <a:rPr lang="en-US" dirty="0" smtClean="0"/>
              <a:t>”</a:t>
            </a:r>
            <a:r>
              <a:rPr lang="ru-RU" dirty="0" smtClean="0"/>
              <a:t> у вида </a:t>
            </a:r>
            <a:r>
              <a:rPr lang="ru-RU" dirty="0"/>
              <a:t>отчета </a:t>
            </a:r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567433"/>
            <a:ext cx="6248400" cy="423862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Скругленный прямоугольник 5"/>
          <p:cNvSpPr/>
          <p:nvPr/>
        </p:nvSpPr>
        <p:spPr>
          <a:xfrm>
            <a:off x="1403648" y="5302002"/>
            <a:ext cx="2376264" cy="360040"/>
          </a:xfrm>
          <a:prstGeom prst="roundRect">
            <a:avLst/>
          </a:prstGeom>
          <a:solidFill>
            <a:schemeClr val="bg1">
              <a:alpha val="8000"/>
            </a:scheme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Picture 4" descr="https://static.tildacdn.com/tild3534-6233-4935-a538-623562396131/kisspng-x-mark-cross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2493690"/>
            <a:ext cx="2481213" cy="2295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ая выноска 9"/>
          <p:cNvSpPr/>
          <p:nvPr/>
        </p:nvSpPr>
        <p:spPr>
          <a:xfrm>
            <a:off x="5292080" y="2781722"/>
            <a:ext cx="3168352" cy="1584176"/>
          </a:xfrm>
          <a:prstGeom prst="wedgeRectCallout">
            <a:avLst>
              <a:gd name="adj1" fmla="val -88302"/>
              <a:gd name="adj2" fmla="val 117248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Признак </a:t>
            </a:r>
            <a:r>
              <a:rPr lang="en-US" b="1" dirty="0" smtClean="0">
                <a:solidFill>
                  <a:schemeClr val="tx1"/>
                </a:solidFill>
              </a:rPr>
              <a:t>“</a:t>
            </a:r>
            <a:r>
              <a:rPr lang="ru-RU" b="1" dirty="0" smtClean="0">
                <a:solidFill>
                  <a:schemeClr val="tx1"/>
                </a:solidFill>
              </a:rPr>
              <a:t>Разделение по проектам</a:t>
            </a:r>
            <a:r>
              <a:rPr lang="en-US" b="1" dirty="0" smtClean="0">
                <a:solidFill>
                  <a:schemeClr val="tx1"/>
                </a:solidFill>
              </a:rPr>
              <a:t>”</a:t>
            </a:r>
            <a:r>
              <a:rPr lang="ru-RU" b="1" dirty="0" smtClean="0">
                <a:solidFill>
                  <a:schemeClr val="tx1"/>
                </a:solidFill>
              </a:rPr>
              <a:t> ставить не нужно!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530966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96744" cy="879475"/>
          </a:xfrm>
        </p:spPr>
        <p:txBody>
          <a:bodyPr/>
          <a:lstStyle/>
          <a:p>
            <a:r>
              <a:rPr lang="ru-RU" dirty="0"/>
              <a:t>Ошибка</a:t>
            </a:r>
            <a:r>
              <a:rPr lang="en-US" dirty="0"/>
              <a:t>: </a:t>
            </a:r>
            <a:r>
              <a:rPr lang="ru-RU" dirty="0"/>
              <a:t>неоправданное использование </a:t>
            </a:r>
            <a:r>
              <a:rPr lang="ru-RU" dirty="0" smtClean="0"/>
              <a:t>признака </a:t>
            </a:r>
            <a:r>
              <a:rPr lang="en-US" dirty="0" smtClean="0"/>
              <a:t>“</a:t>
            </a:r>
            <a:r>
              <a:rPr lang="ru-RU" dirty="0" smtClean="0"/>
              <a:t>Разделение по проектам</a:t>
            </a:r>
            <a:r>
              <a:rPr lang="en-US" dirty="0" smtClean="0"/>
              <a:t>”</a:t>
            </a:r>
            <a:r>
              <a:rPr lang="ru-RU" dirty="0" smtClean="0"/>
              <a:t> у вида </a:t>
            </a:r>
            <a:r>
              <a:rPr lang="ru-RU" dirty="0"/>
              <a:t>отчета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83568" y="1413570"/>
            <a:ext cx="7992888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Признак </a:t>
            </a:r>
            <a:r>
              <a:rPr lang="en-US" sz="2400" b="1" dirty="0" smtClean="0"/>
              <a:t>“</a:t>
            </a:r>
            <a:r>
              <a:rPr lang="ru-RU" sz="2400" b="1" dirty="0" smtClean="0"/>
              <a:t>Разделение по проектам</a:t>
            </a:r>
            <a:r>
              <a:rPr lang="en-US" sz="2400" b="1" dirty="0" smtClean="0"/>
              <a:t>”:</a:t>
            </a:r>
            <a:endParaRPr lang="ru-RU" sz="2400" b="1" dirty="0"/>
          </a:p>
          <a:p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Дополняет ключевые аналитики вида отчета проекто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Требуют ввода и утверждения отдельного экземпляра на каждый проек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Имеют ограничения при настройке операнд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/>
              <a:t>Замедляют расчет показателей бюджетной модел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C00000"/>
                </a:solidFill>
              </a:rPr>
              <a:t>Используются для включения функционала расчета инвестиционных показателей проекта в разрезе проектов и этапов.</a:t>
            </a:r>
            <a:endParaRPr lang="en-US" sz="2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440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пециальное оформление">
  <a:themeElements>
    <a:clrScheme name="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Другая 1">
      <a:majorFont>
        <a:latin typeface="Proxima Nova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1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127</Words>
  <Application>Microsoft Office PowerPoint</Application>
  <PresentationFormat>Произвольный</PresentationFormat>
  <Paragraphs>442</Paragraphs>
  <Slides>35</Slides>
  <Notes>3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5</vt:i4>
      </vt:variant>
    </vt:vector>
  </HeadingPairs>
  <TitlesOfParts>
    <vt:vector size="51" baseType="lpstr">
      <vt:lpstr>Arial</vt:lpstr>
      <vt:lpstr>Futura PT</vt:lpstr>
      <vt:lpstr>Proxima Nova Lt</vt:lpstr>
      <vt:lpstr>Proxima Nova Rg</vt:lpstr>
      <vt:lpstr>Times New Roman</vt:lpstr>
      <vt:lpstr>Wingdings</vt:lpstr>
      <vt:lpstr>Оформление по умолчанию</vt:lpstr>
      <vt:lpstr>Специальное оформление</vt:lpstr>
      <vt:lpstr>1409_Шаблон</vt:lpstr>
      <vt:lpstr>1_Оформление по умолчанию</vt:lpstr>
      <vt:lpstr>2_Оформление по умолчанию</vt:lpstr>
      <vt:lpstr>1_1409_Шаблон</vt:lpstr>
      <vt:lpstr>2_1409_Шаблон</vt:lpstr>
      <vt:lpstr>11_Оформление по умолчанию</vt:lpstr>
      <vt:lpstr>3_Оформление по умолчанию</vt:lpstr>
      <vt:lpstr>think-cell Slide</vt:lpstr>
      <vt:lpstr>Презентация PowerPoint</vt:lpstr>
      <vt:lpstr>Часть 1. Типичные ошибки разработки моделей</vt:lpstr>
      <vt:lpstr>Ошибка: неоправданное использование аналитик вида отчета </vt:lpstr>
      <vt:lpstr>Ошибка: неоправданное использование аналитик вида отчета </vt:lpstr>
      <vt:lpstr>Ошибка: неоправданное использование аналитик вида отчета </vt:lpstr>
      <vt:lpstr>Правильно -  скопировать одну аналитику на все строки через конструктор!</vt:lpstr>
      <vt:lpstr>Ошибка: неоправданное использование признака “Разделение по проектам” у вида отчета </vt:lpstr>
      <vt:lpstr>Ошибка: неоправданное использование признака “Разделение по проектам” у вида отчета </vt:lpstr>
      <vt:lpstr>Ошибка: неоправданное использование признака “Разделение по проектам” у вида отчета </vt:lpstr>
      <vt:lpstr>Ошибка: неоправданное использование признака “Разделение по проектам” у вида отчета </vt:lpstr>
      <vt:lpstr>Ошибка: неоправданное использование операндов правил обработки вместо вычисляемых выражений бланков</vt:lpstr>
      <vt:lpstr>Ошибка: неоправданное использование операндов правил обработки вместо вычисляемых выражений бланков</vt:lpstr>
      <vt:lpstr>Формулы правил обработки или вычисляемые выражения бланков?</vt:lpstr>
      <vt:lpstr>Ошибка: неоправданное использование операндов правил обработки вместо вычисляемых выражений бланков</vt:lpstr>
      <vt:lpstr>Часть 2. Лучшие практики и полезные советы.</vt:lpstr>
      <vt:lpstr>Как лучше настроить финансовую структуру предприятия в УХ? </vt:lpstr>
      <vt:lpstr>Функциональные направления. Зачем нужны?</vt:lpstr>
      <vt:lpstr>Приемы работы с многопериодными бланками:основные возможности. </vt:lpstr>
      <vt:lpstr>Приемы работы с многопериодными бланками: вывод нестандартных итогов по периоду</vt:lpstr>
      <vt:lpstr>Приемы работы с многопериодными бланками: вывод нестандартных итогов по периоду</vt:lpstr>
      <vt:lpstr>Приемы работы с многопериодными бланками: вывод нестандартных итогов по периоду</vt:lpstr>
      <vt:lpstr>Приемы работы с многопериодными бланками: вывод нестандартных итогов по периоду</vt:lpstr>
      <vt:lpstr>Приемы работы с многопериодными бланками: бланк за произвольный период.</vt:lpstr>
      <vt:lpstr>Приемы работы с многопериодными бланками: создание сложной шкалы времени</vt:lpstr>
      <vt:lpstr>Приемы работы с многопериодными бланками: нарастающий итог в бланке</vt:lpstr>
      <vt:lpstr>Приемы работы с многопериодными бланками: нарастающий итог в бланке</vt:lpstr>
      <vt:lpstr>Приемы работы с многопериодными бланками: как можно вывести иерархию аналитик. </vt:lpstr>
      <vt:lpstr>Приемы работы с многопериодными бланками: как можно вывести иерархию аналитик. </vt:lpstr>
      <vt:lpstr>Приемы работы с многопериодными бланками: как можно вывести иерархию аналитик. </vt:lpstr>
      <vt:lpstr>Приемы работы с многопериодными бланками: как можно вывести иерархию аналитик. </vt:lpstr>
      <vt:lpstr>Приемы работы с многопериодными бланками: как можно вывести иерархию аналитик. </vt:lpstr>
      <vt:lpstr>Бланк с закладками. </vt:lpstr>
      <vt:lpstr>Бланк с закладками. </vt:lpstr>
      <vt:lpstr>Бланк с закладками. 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8-02-08T09:59:48Z</dcterms:created>
  <dcterms:modified xsi:type="dcterms:W3CDTF">2020-10-12T12:49:16Z</dcterms:modified>
</cp:coreProperties>
</file>